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4.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7"/>
  </p:notesMasterIdLst>
  <p:sldIdLst>
    <p:sldId id="2147473108" r:id="rId5"/>
    <p:sldId id="265" r:id="rId6"/>
    <p:sldId id="266" r:id="rId7"/>
    <p:sldId id="264" r:id="rId8"/>
    <p:sldId id="2147473100" r:id="rId9"/>
    <p:sldId id="2147473102" r:id="rId10"/>
    <p:sldId id="2147473103" r:id="rId11"/>
    <p:sldId id="2147473110" r:id="rId12"/>
    <p:sldId id="2147473105" r:id="rId13"/>
    <p:sldId id="2147473106" r:id="rId14"/>
    <p:sldId id="2147473107" r:id="rId15"/>
    <p:sldId id="2147473109" r:id="rId16"/>
  </p:sldIdLst>
  <p:sldSz cx="12192000" cy="6858000"/>
  <p:notesSz cx="6858000" cy="9144000"/>
  <p:custDataLst>
    <p:tags r:id="rId18"/>
  </p:custDataLst>
  <p:defaultTex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751"/>
    <a:srgbClr val="E6E6E6"/>
    <a:srgbClr val="00AAE7"/>
    <a:srgbClr val="004A7C"/>
    <a:srgbClr val="00B5AF"/>
    <a:srgbClr val="8ED2CC"/>
    <a:srgbClr val="F26B43"/>
    <a:srgbClr val="012169"/>
    <a:srgbClr val="3C504D"/>
    <a:srgbClr val="0094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212" autoAdjust="0"/>
    <p:restoredTop sz="83191" autoAdjust="0"/>
  </p:normalViewPr>
  <p:slideViewPr>
    <p:cSldViewPr snapToGrid="0">
      <p:cViewPr varScale="1">
        <p:scale>
          <a:sx n="99" d="100"/>
          <a:sy n="99" d="100"/>
        </p:scale>
        <p:origin x="102" y="13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745829244357216E-2"/>
          <c:y val="7.9262312154051037E-2"/>
          <c:w val="0.90981354268891068"/>
          <c:h val="0.78370573273332034"/>
        </c:manualLayout>
      </c:layout>
      <c:barChart>
        <c:barDir val="col"/>
        <c:grouping val="clustered"/>
        <c:varyColors val="0"/>
        <c:ser>
          <c:idx val="0"/>
          <c:order val="0"/>
          <c:tx>
            <c:strRef>
              <c:f>Sheet1!$B$1</c:f>
              <c:strCache>
                <c:ptCount val="1"/>
                <c:pt idx="0">
                  <c:v>Column4</c:v>
                </c:pt>
              </c:strCache>
            </c:strRef>
          </c:tx>
          <c:spPr>
            <a:solidFill>
              <a:srgbClr val="0097A9"/>
            </a:solidFill>
            <a:ln>
              <a:noFill/>
            </a:ln>
            <a:effectLst/>
          </c:spPr>
          <c:invertIfNegative val="0"/>
          <c:cat>
            <c:strRef>
              <c:f>Sheet1!$A$2:$A$5</c:f>
              <c:strCache>
                <c:ptCount val="4"/>
                <c:pt idx="0">
                  <c:v>20 to
50 M€</c:v>
                </c:pt>
                <c:pt idx="1">
                  <c:v>50 to 
100 M€</c:v>
                </c:pt>
                <c:pt idx="2">
                  <c:v>100 to 
150 M€</c:v>
                </c:pt>
                <c:pt idx="3">
                  <c:v>+150 M€</c:v>
                </c:pt>
              </c:strCache>
            </c:strRef>
          </c:cat>
          <c:val>
            <c:numRef>
              <c:f>Sheet1!$B$2:$B$5</c:f>
              <c:numCache>
                <c:formatCode>General</c:formatCode>
                <c:ptCount val="4"/>
                <c:pt idx="0">
                  <c:v>5</c:v>
                </c:pt>
                <c:pt idx="1">
                  <c:v>3</c:v>
                </c:pt>
                <c:pt idx="2">
                  <c:v>5</c:v>
                </c:pt>
                <c:pt idx="3">
                  <c:v>4</c:v>
                </c:pt>
              </c:numCache>
            </c:numRef>
          </c:val>
          <c:extLst>
            <c:ext xmlns:c16="http://schemas.microsoft.com/office/drawing/2014/chart" uri="{C3380CC4-5D6E-409C-BE32-E72D297353CC}">
              <c16:uniqueId val="{00000000-3E7F-42D3-BCD1-F73F4B51EF80}"/>
            </c:ext>
          </c:extLst>
        </c:ser>
        <c:ser>
          <c:idx val="1"/>
          <c:order val="1"/>
          <c:tx>
            <c:strRef>
              <c:f>Sheet1!$A$3</c:f>
              <c:strCache>
                <c:ptCount val="1"/>
                <c:pt idx="0">
                  <c:v>50 to 
100 M€</c:v>
                </c:pt>
              </c:strCache>
            </c:strRef>
          </c:tx>
          <c:spPr>
            <a:solidFill>
              <a:schemeClr val="accent2"/>
            </a:solidFill>
            <a:ln>
              <a:noFill/>
            </a:ln>
            <a:effectLst/>
          </c:spPr>
          <c:invertIfNegative val="0"/>
          <c:cat>
            <c:strRef>
              <c:f>Sheet1!$A$2:$A$5</c:f>
              <c:strCache>
                <c:ptCount val="4"/>
                <c:pt idx="0">
                  <c:v>20 to
50 M€</c:v>
                </c:pt>
                <c:pt idx="1">
                  <c:v>50 to 
100 M€</c:v>
                </c:pt>
                <c:pt idx="2">
                  <c:v>100 to 
150 M€</c:v>
                </c:pt>
                <c:pt idx="3">
                  <c:v>+150 M€</c:v>
                </c:pt>
              </c:strCache>
            </c:strRef>
          </c:cat>
          <c:val>
            <c:numRef>
              <c:f>Sheet1!$C$2:$C$5</c:f>
              <c:numCache>
                <c:formatCode>General</c:formatCode>
                <c:ptCount val="4"/>
              </c:numCache>
            </c:numRef>
          </c:val>
          <c:extLst>
            <c:ext xmlns:c16="http://schemas.microsoft.com/office/drawing/2014/chart" uri="{C3380CC4-5D6E-409C-BE32-E72D297353CC}">
              <c16:uniqueId val="{00000001-3E7F-42D3-BCD1-F73F4B51EF80}"/>
            </c:ext>
          </c:extLst>
        </c:ser>
        <c:ser>
          <c:idx val="2"/>
          <c:order val="2"/>
          <c:tx>
            <c:strRef>
              <c:f>Sheet1!$A$4</c:f>
              <c:strCache>
                <c:ptCount val="1"/>
                <c:pt idx="0">
                  <c:v>100 to 
150 M€</c:v>
                </c:pt>
              </c:strCache>
            </c:strRef>
          </c:tx>
          <c:spPr>
            <a:solidFill>
              <a:schemeClr val="accent3"/>
            </a:solidFill>
            <a:ln>
              <a:noFill/>
            </a:ln>
            <a:effectLst/>
          </c:spPr>
          <c:invertIfNegative val="0"/>
          <c:cat>
            <c:strRef>
              <c:f>Sheet1!$A$2:$A$5</c:f>
              <c:strCache>
                <c:ptCount val="4"/>
                <c:pt idx="0">
                  <c:v>20 to
50 M€</c:v>
                </c:pt>
                <c:pt idx="1">
                  <c:v>50 to 
100 M€</c:v>
                </c:pt>
                <c:pt idx="2">
                  <c:v>100 to 
150 M€</c:v>
                </c:pt>
                <c:pt idx="3">
                  <c:v>+150 M€</c:v>
                </c:pt>
              </c:strCache>
            </c:strRef>
          </c:cat>
          <c:val>
            <c:numRef>
              <c:f>Sheet1!$D$2:$D$5</c:f>
              <c:numCache>
                <c:formatCode>General</c:formatCode>
                <c:ptCount val="4"/>
              </c:numCache>
            </c:numRef>
          </c:val>
          <c:extLst>
            <c:ext xmlns:c16="http://schemas.microsoft.com/office/drawing/2014/chart" uri="{C3380CC4-5D6E-409C-BE32-E72D297353CC}">
              <c16:uniqueId val="{00000002-3E7F-42D3-BCD1-F73F4B51EF80}"/>
            </c:ext>
          </c:extLst>
        </c:ser>
        <c:ser>
          <c:idx val="3"/>
          <c:order val="3"/>
          <c:tx>
            <c:strRef>
              <c:f>Sheet1!$E$1</c:f>
              <c:strCache>
                <c:ptCount val="1"/>
                <c:pt idx="0">
                  <c:v>Column3</c:v>
                </c:pt>
              </c:strCache>
            </c:strRef>
          </c:tx>
          <c:spPr>
            <a:solidFill>
              <a:schemeClr val="accent4"/>
            </a:solidFill>
            <a:ln>
              <a:noFill/>
            </a:ln>
            <a:effectLst/>
          </c:spPr>
          <c:invertIfNegative val="0"/>
          <c:cat>
            <c:strRef>
              <c:f>Sheet1!$A$2:$A$5</c:f>
              <c:strCache>
                <c:ptCount val="4"/>
                <c:pt idx="0">
                  <c:v>20 to
50 M€</c:v>
                </c:pt>
                <c:pt idx="1">
                  <c:v>50 to 
100 M€</c:v>
                </c:pt>
                <c:pt idx="2">
                  <c:v>100 to 
150 M€</c:v>
                </c:pt>
                <c:pt idx="3">
                  <c:v>+150 M€</c:v>
                </c:pt>
              </c:strCache>
            </c:strRef>
          </c:cat>
          <c:val>
            <c:numRef>
              <c:f>Sheet1!$E$2:$E$5</c:f>
              <c:numCache>
                <c:formatCode>General</c:formatCode>
                <c:ptCount val="4"/>
              </c:numCache>
            </c:numRef>
          </c:val>
          <c:extLst>
            <c:ext xmlns:c16="http://schemas.microsoft.com/office/drawing/2014/chart" uri="{C3380CC4-5D6E-409C-BE32-E72D297353CC}">
              <c16:uniqueId val="{00000003-3E7F-42D3-BCD1-F73F4B51EF80}"/>
            </c:ext>
          </c:extLst>
        </c:ser>
        <c:dLbls>
          <c:showLegendKey val="0"/>
          <c:showVal val="0"/>
          <c:showCatName val="0"/>
          <c:showSerName val="0"/>
          <c:showPercent val="0"/>
          <c:showBubbleSize val="0"/>
        </c:dLbls>
        <c:gapWidth val="130"/>
        <c:overlap val="100"/>
        <c:axId val="1178967536"/>
        <c:axId val="1178963792"/>
      </c:barChart>
      <c:catAx>
        <c:axId val="1178967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78963792"/>
        <c:crosses val="autoZero"/>
        <c:auto val="1"/>
        <c:lblAlgn val="ctr"/>
        <c:lblOffset val="100"/>
        <c:noMultiLvlLbl val="0"/>
      </c:catAx>
      <c:valAx>
        <c:axId val="11789637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789675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0097A9"/>
            </a:solidFill>
            <a:ln>
              <a:noFill/>
            </a:ln>
            <a:effectLst/>
          </c:spPr>
          <c:invertIfNegative val="0"/>
          <c:cat>
            <c:strRef>
              <c:f>Sheet1!$A$2:$A$9</c:f>
              <c:strCache>
                <c:ptCount val="8"/>
                <c:pt idx="0">
                  <c:v>High-performance computing</c:v>
                </c:pt>
                <c:pt idx="1">
                  <c:v>Collaboration and Communication tools (incl. Document storage)</c:v>
                </c:pt>
                <c:pt idx="2">
                  <c:v>Disaster recovery and business continuity</c:v>
                </c:pt>
                <c:pt idx="3">
                  <c:v>IoT workloads</c:v>
                </c:pt>
                <c:pt idx="4">
                  <c:v>Security &amp; compliance workloads</c:v>
                </c:pt>
                <c:pt idx="5">
                  <c:v>Web and digital</c:v>
                </c:pt>
                <c:pt idx="6">
                  <c:v>ML and AI workloads</c:v>
                </c:pt>
                <c:pt idx="7">
                  <c:v>Data warehousing and storage</c:v>
                </c:pt>
              </c:strCache>
            </c:strRef>
          </c:cat>
          <c:val>
            <c:numRef>
              <c:f>Sheet1!$B$2:$B$9</c:f>
              <c:numCache>
                <c:formatCode>General</c:formatCode>
                <c:ptCount val="8"/>
                <c:pt idx="0">
                  <c:v>29</c:v>
                </c:pt>
                <c:pt idx="1">
                  <c:v>41</c:v>
                </c:pt>
                <c:pt idx="2">
                  <c:v>47</c:v>
                </c:pt>
                <c:pt idx="3">
                  <c:v>53</c:v>
                </c:pt>
                <c:pt idx="4">
                  <c:v>65</c:v>
                </c:pt>
                <c:pt idx="5">
                  <c:v>76</c:v>
                </c:pt>
                <c:pt idx="6">
                  <c:v>82</c:v>
                </c:pt>
                <c:pt idx="7">
                  <c:v>88</c:v>
                </c:pt>
              </c:numCache>
            </c:numRef>
          </c:val>
          <c:extLst>
            <c:ext xmlns:c16="http://schemas.microsoft.com/office/drawing/2014/chart" uri="{C3380CC4-5D6E-409C-BE32-E72D297353CC}">
              <c16:uniqueId val="{00000000-AF48-42EB-B98A-37FB563D0920}"/>
            </c:ext>
          </c:extLst>
        </c:ser>
        <c:dLbls>
          <c:showLegendKey val="0"/>
          <c:showVal val="0"/>
          <c:showCatName val="0"/>
          <c:showSerName val="0"/>
          <c:showPercent val="0"/>
          <c:showBubbleSize val="0"/>
        </c:dLbls>
        <c:gapWidth val="30"/>
        <c:axId val="116234319"/>
        <c:axId val="116218927"/>
      </c:barChart>
      <c:catAx>
        <c:axId val="11623431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000" b="0" i="0" u="none" strike="noStrike" kern="1200" baseline="0">
                <a:solidFill>
                  <a:schemeClr val="tx1">
                    <a:lumMod val="65000"/>
                    <a:lumOff val="35000"/>
                  </a:schemeClr>
                </a:solidFill>
                <a:latin typeface="+mn-lt"/>
                <a:ea typeface="+mn-ea"/>
                <a:cs typeface="+mn-cs"/>
              </a:defRPr>
            </a:pPr>
            <a:endParaRPr lang="en-US"/>
          </a:p>
        </c:txPr>
        <c:crossAx val="116218927"/>
        <c:crosses val="autoZero"/>
        <c:auto val="1"/>
        <c:lblAlgn val="ctr"/>
        <c:lblOffset val="100"/>
        <c:noMultiLvlLbl val="0"/>
      </c:catAx>
      <c:valAx>
        <c:axId val="116218927"/>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dirty="0"/>
                  <a:t>%</a:t>
                </a:r>
                <a:r>
                  <a:rPr lang="en-US" sz="1000" baseline="0" dirty="0"/>
                  <a:t> respondents</a:t>
                </a:r>
                <a:endParaRPr lang="en-US" sz="1000" dirty="0"/>
              </a:p>
            </c:rich>
          </c:tx>
          <c:layout>
            <c:manualLayout>
              <c:xMode val="edge"/>
              <c:yMode val="edge"/>
              <c:x val="0.63169729683727294"/>
              <c:y val="0.9307726254944738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62343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5"/>
            </a:solidFill>
            <a:ln>
              <a:noFill/>
            </a:ln>
            <a:effectLst/>
          </c:spPr>
          <c:invertIfNegative val="0"/>
          <c:cat>
            <c:strRef>
              <c:f>Sheet1!$A$2:$A$6</c:f>
              <c:strCache>
                <c:ptCount val="5"/>
                <c:pt idx="0">
                  <c:v>N/A</c:v>
                </c:pt>
                <c:pt idx="1">
                  <c:v>1 to 5</c:v>
                </c:pt>
                <c:pt idx="2">
                  <c:v>5 to 7</c:v>
                </c:pt>
                <c:pt idx="3">
                  <c:v>7 to 10</c:v>
                </c:pt>
                <c:pt idx="4">
                  <c:v>&gt;10</c:v>
                </c:pt>
              </c:strCache>
            </c:strRef>
          </c:cat>
          <c:val>
            <c:numRef>
              <c:f>Sheet1!$B$2:$B$6</c:f>
              <c:numCache>
                <c:formatCode>General</c:formatCode>
                <c:ptCount val="5"/>
                <c:pt idx="0">
                  <c:v>6</c:v>
                </c:pt>
                <c:pt idx="1">
                  <c:v>4</c:v>
                </c:pt>
                <c:pt idx="2">
                  <c:v>3</c:v>
                </c:pt>
                <c:pt idx="3">
                  <c:v>3</c:v>
                </c:pt>
                <c:pt idx="4">
                  <c:v>1</c:v>
                </c:pt>
              </c:numCache>
            </c:numRef>
          </c:val>
          <c:extLst>
            <c:ext xmlns:c16="http://schemas.microsoft.com/office/drawing/2014/chart" uri="{C3380CC4-5D6E-409C-BE32-E72D297353CC}">
              <c16:uniqueId val="{00000000-33E3-4A23-A99E-9A6A6CCEA8E6}"/>
            </c:ext>
          </c:extLst>
        </c:ser>
        <c:ser>
          <c:idx val="1"/>
          <c:order val="1"/>
          <c:tx>
            <c:strRef>
              <c:f>Sheet1!$C$1</c:f>
              <c:strCache>
                <c:ptCount val="1"/>
                <c:pt idx="0">
                  <c:v>Column1</c:v>
                </c:pt>
              </c:strCache>
            </c:strRef>
          </c:tx>
          <c:spPr>
            <a:solidFill>
              <a:schemeClr val="accent2"/>
            </a:solidFill>
            <a:ln>
              <a:noFill/>
            </a:ln>
            <a:effectLst/>
          </c:spPr>
          <c:invertIfNegative val="0"/>
          <c:cat>
            <c:strRef>
              <c:f>Sheet1!$A$2:$A$6</c:f>
              <c:strCache>
                <c:ptCount val="5"/>
                <c:pt idx="0">
                  <c:v>N/A</c:v>
                </c:pt>
                <c:pt idx="1">
                  <c:v>1 to 5</c:v>
                </c:pt>
                <c:pt idx="2">
                  <c:v>5 to 7</c:v>
                </c:pt>
                <c:pt idx="3">
                  <c:v>7 to 10</c:v>
                </c:pt>
                <c:pt idx="4">
                  <c:v>&gt;10</c:v>
                </c:pt>
              </c:strCache>
            </c:strRef>
          </c:cat>
          <c:val>
            <c:numRef>
              <c:f>Sheet1!$C$2:$C$6</c:f>
              <c:numCache>
                <c:formatCode>General</c:formatCode>
                <c:ptCount val="5"/>
              </c:numCache>
            </c:numRef>
          </c:val>
          <c:extLst>
            <c:ext xmlns:c16="http://schemas.microsoft.com/office/drawing/2014/chart" uri="{C3380CC4-5D6E-409C-BE32-E72D297353CC}">
              <c16:uniqueId val="{00000001-33E3-4A23-A99E-9A6A6CCEA8E6}"/>
            </c:ext>
          </c:extLst>
        </c:ser>
        <c:ser>
          <c:idx val="2"/>
          <c:order val="2"/>
          <c:tx>
            <c:strRef>
              <c:f>Sheet1!$D$1</c:f>
              <c:strCache>
                <c:ptCount val="1"/>
                <c:pt idx="0">
                  <c:v>Column2</c:v>
                </c:pt>
              </c:strCache>
            </c:strRef>
          </c:tx>
          <c:spPr>
            <a:solidFill>
              <a:schemeClr val="accent3"/>
            </a:solidFill>
            <a:ln>
              <a:noFill/>
            </a:ln>
            <a:effectLst/>
          </c:spPr>
          <c:invertIfNegative val="0"/>
          <c:cat>
            <c:strRef>
              <c:f>Sheet1!$A$2:$A$6</c:f>
              <c:strCache>
                <c:ptCount val="5"/>
                <c:pt idx="0">
                  <c:v>N/A</c:v>
                </c:pt>
                <c:pt idx="1">
                  <c:v>1 to 5</c:v>
                </c:pt>
                <c:pt idx="2">
                  <c:v>5 to 7</c:v>
                </c:pt>
                <c:pt idx="3">
                  <c:v>7 to 10</c:v>
                </c:pt>
                <c:pt idx="4">
                  <c:v>&gt;10</c:v>
                </c:pt>
              </c:strCache>
            </c:strRef>
          </c:cat>
          <c:val>
            <c:numRef>
              <c:f>Sheet1!$D$2:$D$6</c:f>
              <c:numCache>
                <c:formatCode>General</c:formatCode>
                <c:ptCount val="5"/>
              </c:numCache>
            </c:numRef>
          </c:val>
          <c:extLst>
            <c:ext xmlns:c16="http://schemas.microsoft.com/office/drawing/2014/chart" uri="{C3380CC4-5D6E-409C-BE32-E72D297353CC}">
              <c16:uniqueId val="{00000002-33E3-4A23-A99E-9A6A6CCEA8E6}"/>
            </c:ext>
          </c:extLst>
        </c:ser>
        <c:dLbls>
          <c:showLegendKey val="0"/>
          <c:showVal val="0"/>
          <c:showCatName val="0"/>
          <c:showSerName val="0"/>
          <c:showPercent val="0"/>
          <c:showBubbleSize val="0"/>
        </c:dLbls>
        <c:gapWidth val="98"/>
        <c:overlap val="100"/>
        <c:axId val="1113076704"/>
        <c:axId val="1113087520"/>
      </c:barChart>
      <c:catAx>
        <c:axId val="1113076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13087520"/>
        <c:crosses val="autoZero"/>
        <c:auto val="1"/>
        <c:lblAlgn val="ctr"/>
        <c:lblOffset val="100"/>
        <c:noMultiLvlLbl val="0"/>
      </c:catAx>
      <c:valAx>
        <c:axId val="11130875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100" b="0" i="0" baseline="0" dirty="0">
                    <a:effectLst/>
                  </a:rPr>
                  <a:t># respondents</a:t>
                </a:r>
                <a:endParaRPr lang="en-US" sz="1000" dirty="0">
                  <a:effectLst/>
                </a:endParaRPr>
              </a:p>
            </c:rich>
          </c:tx>
          <c:layout>
            <c:manualLayout>
              <c:xMode val="edge"/>
              <c:yMode val="edge"/>
              <c:x val="1.074251654023298E-2"/>
              <c:y val="0.39188922526529174"/>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130767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26414175339811"/>
          <c:y val="3.6019294619531871E-2"/>
          <c:w val="0.84686587766100585"/>
          <c:h val="0.68750286662504934"/>
        </c:manualLayout>
      </c:layout>
      <c:pieChart>
        <c:varyColors val="1"/>
        <c:ser>
          <c:idx val="0"/>
          <c:order val="0"/>
          <c:tx>
            <c:strRef>
              <c:f>Sheet1!$B$1</c:f>
              <c:strCache>
                <c:ptCount val="1"/>
                <c:pt idx="0">
                  <c:v>Sales</c:v>
                </c:pt>
              </c:strCache>
            </c:strRef>
          </c:tx>
          <c:spPr>
            <a:solidFill>
              <a:srgbClr val="00B5AF"/>
            </a:solidFill>
          </c:spPr>
          <c:dPt>
            <c:idx val="0"/>
            <c:bubble3D val="0"/>
            <c:spPr>
              <a:solidFill>
                <a:srgbClr val="004751"/>
              </a:solidFill>
              <a:ln w="19050">
                <a:solidFill>
                  <a:schemeClr val="lt1"/>
                </a:solidFill>
              </a:ln>
              <a:effectLst/>
            </c:spPr>
            <c:extLst>
              <c:ext xmlns:c16="http://schemas.microsoft.com/office/drawing/2014/chart" uri="{C3380CC4-5D6E-409C-BE32-E72D297353CC}">
                <c16:uniqueId val="{00000001-3542-4EC7-8896-054081F70BE1}"/>
              </c:ext>
            </c:extLst>
          </c:dPt>
          <c:dPt>
            <c:idx val="1"/>
            <c:bubble3D val="0"/>
            <c:spPr>
              <a:solidFill>
                <a:srgbClr val="00B5AF"/>
              </a:solidFill>
              <a:ln w="19050">
                <a:solidFill>
                  <a:schemeClr val="lt1"/>
                </a:solidFill>
              </a:ln>
              <a:effectLst/>
            </c:spPr>
            <c:extLst>
              <c:ext xmlns:c16="http://schemas.microsoft.com/office/drawing/2014/chart" uri="{C3380CC4-5D6E-409C-BE32-E72D297353CC}">
                <c16:uniqueId val="{00000003-20B0-41BF-AF45-7559E5C684A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CoE in place</c:v>
                </c:pt>
                <c:pt idx="1">
                  <c:v>No CCoE in place</c:v>
                </c:pt>
              </c:strCache>
            </c:strRef>
          </c:cat>
          <c:val>
            <c:numRef>
              <c:f>Sheet1!$B$2:$B$3</c:f>
              <c:numCache>
                <c:formatCode>General</c:formatCode>
                <c:ptCount val="2"/>
                <c:pt idx="0">
                  <c:v>12</c:v>
                </c:pt>
                <c:pt idx="1">
                  <c:v>5</c:v>
                </c:pt>
              </c:numCache>
            </c:numRef>
          </c:val>
          <c:extLst>
            <c:ext xmlns:c16="http://schemas.microsoft.com/office/drawing/2014/chart" uri="{C3380CC4-5D6E-409C-BE32-E72D297353CC}">
              <c16:uniqueId val="{00000000-3542-4EC7-8896-054081F70BE1}"/>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5.3776323109920497E-2"/>
          <c:y val="0.92942079355069351"/>
          <c:w val="0.89999991079305863"/>
          <c:h val="6.786695576731163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46463592972763"/>
          <c:y val="1.9542778736135795E-2"/>
          <c:w val="0.82101152844923775"/>
          <c:h val="0.70880858959150783"/>
        </c:manualLayout>
      </c:layout>
      <c:pieChart>
        <c:varyColors val="1"/>
        <c:ser>
          <c:idx val="0"/>
          <c:order val="0"/>
          <c:tx>
            <c:strRef>
              <c:f>Sheet1!$B$1</c:f>
              <c:strCache>
                <c:ptCount val="1"/>
                <c:pt idx="0">
                  <c:v>Sales</c:v>
                </c:pt>
              </c:strCache>
            </c:strRef>
          </c:tx>
          <c:spPr>
            <a:solidFill>
              <a:srgbClr val="00B5AF"/>
            </a:solidFill>
          </c:spPr>
          <c:dPt>
            <c:idx val="0"/>
            <c:bubble3D val="0"/>
            <c:spPr>
              <a:solidFill>
                <a:srgbClr val="004751"/>
              </a:solidFill>
              <a:ln w="19050">
                <a:solidFill>
                  <a:schemeClr val="lt1"/>
                </a:solidFill>
              </a:ln>
              <a:effectLst/>
            </c:spPr>
            <c:extLst>
              <c:ext xmlns:c16="http://schemas.microsoft.com/office/drawing/2014/chart" uri="{C3380CC4-5D6E-409C-BE32-E72D297353CC}">
                <c16:uniqueId val="{00000001-3542-4EC7-8896-054081F70BE1}"/>
              </c:ext>
            </c:extLst>
          </c:dPt>
          <c:dPt>
            <c:idx val="1"/>
            <c:bubble3D val="0"/>
            <c:spPr>
              <a:solidFill>
                <a:srgbClr val="8ED2CC"/>
              </a:solidFill>
              <a:ln w="19050">
                <a:solidFill>
                  <a:schemeClr val="lt1"/>
                </a:solidFill>
              </a:ln>
              <a:effectLst/>
            </c:spPr>
            <c:extLst>
              <c:ext xmlns:c16="http://schemas.microsoft.com/office/drawing/2014/chart" uri="{C3380CC4-5D6E-409C-BE32-E72D297353CC}">
                <c16:uniqueId val="{00000003-8CBA-4BDB-BC7D-CEFBF782E0CD}"/>
              </c:ext>
            </c:extLst>
          </c:dPt>
          <c:dPt>
            <c:idx val="2"/>
            <c:bubble3D val="0"/>
            <c:spPr>
              <a:solidFill>
                <a:srgbClr val="00B5AF"/>
              </a:solidFill>
              <a:ln w="19050">
                <a:solidFill>
                  <a:schemeClr val="lt1"/>
                </a:solidFill>
              </a:ln>
              <a:effectLst/>
            </c:spPr>
            <c:extLst>
              <c:ext xmlns:c16="http://schemas.microsoft.com/office/drawing/2014/chart" uri="{C3380CC4-5D6E-409C-BE32-E72D297353CC}">
                <c16:uniqueId val="{00000005-9E78-4604-9EE3-C7E59B6F5AD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ne</c:v>
                </c:pt>
                <c:pt idx="1">
                  <c:v>Infrastructure-as-Code (Iac)</c:v>
                </c:pt>
                <c:pt idx="2">
                  <c:v>IaC Including self-service catalog</c:v>
                </c:pt>
              </c:strCache>
            </c:strRef>
          </c:cat>
          <c:val>
            <c:numRef>
              <c:f>Sheet1!$B$2:$B$4</c:f>
              <c:numCache>
                <c:formatCode>General</c:formatCode>
                <c:ptCount val="3"/>
                <c:pt idx="0">
                  <c:v>2</c:v>
                </c:pt>
                <c:pt idx="1">
                  <c:v>10</c:v>
                </c:pt>
                <c:pt idx="2">
                  <c:v>5</c:v>
                </c:pt>
              </c:numCache>
            </c:numRef>
          </c:val>
          <c:extLst>
            <c:ext xmlns:c16="http://schemas.microsoft.com/office/drawing/2014/chart" uri="{C3380CC4-5D6E-409C-BE32-E72D297353CC}">
              <c16:uniqueId val="{00000000-3542-4EC7-8896-054081F70BE1}"/>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1.3344763716087607E-2"/>
          <c:y val="0.85512508184144254"/>
          <c:w val="0.98665523628391238"/>
          <c:h val="0.1410261109348200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72809312918861"/>
          <c:y val="3.4356452249941841E-2"/>
          <c:w val="0.48128453579826203"/>
          <c:h val="0.62082281366801484"/>
        </c:manualLayout>
      </c:layout>
      <c:doughnutChart>
        <c:varyColors val="1"/>
        <c:ser>
          <c:idx val="0"/>
          <c:order val="0"/>
          <c:tx>
            <c:strRef>
              <c:f>Sheet1!$B$1</c:f>
              <c:strCache>
                <c:ptCount val="1"/>
                <c:pt idx="0">
                  <c:v>Sales</c:v>
                </c:pt>
              </c:strCache>
            </c:strRef>
          </c:tx>
          <c:spPr>
            <a:solidFill>
              <a:srgbClr val="8ED2CC"/>
            </a:solidFill>
          </c:spPr>
          <c:dPt>
            <c:idx val="0"/>
            <c:bubble3D val="0"/>
            <c:spPr>
              <a:solidFill>
                <a:srgbClr val="0094A6"/>
              </a:solidFill>
              <a:ln w="19050">
                <a:solidFill>
                  <a:schemeClr val="lt1"/>
                </a:solidFill>
              </a:ln>
              <a:effectLst/>
            </c:spPr>
            <c:extLst>
              <c:ext xmlns:c16="http://schemas.microsoft.com/office/drawing/2014/chart" uri="{C3380CC4-5D6E-409C-BE32-E72D297353CC}">
                <c16:uniqueId val="{00000001-145E-40B5-BBD1-907BDD2F7C4D}"/>
              </c:ext>
            </c:extLst>
          </c:dPt>
          <c:dPt>
            <c:idx val="1"/>
            <c:bubble3D val="0"/>
            <c:spPr>
              <a:solidFill>
                <a:srgbClr val="8ED2CC"/>
              </a:solidFill>
              <a:ln w="19050">
                <a:solidFill>
                  <a:schemeClr val="lt1"/>
                </a:solidFill>
              </a:ln>
              <a:effectLst/>
            </c:spPr>
            <c:extLst>
              <c:ext xmlns:c16="http://schemas.microsoft.com/office/drawing/2014/chart" uri="{C3380CC4-5D6E-409C-BE32-E72D297353CC}">
                <c16:uniqueId val="{00000003-145E-40B5-BBD1-907BDD2F7C4D}"/>
              </c:ext>
            </c:extLst>
          </c:dPt>
          <c:dPt>
            <c:idx val="2"/>
            <c:bubble3D val="0"/>
            <c:spPr>
              <a:solidFill>
                <a:srgbClr val="00B5AF"/>
              </a:solidFill>
              <a:ln w="19050">
                <a:solidFill>
                  <a:schemeClr val="lt1"/>
                </a:solidFill>
              </a:ln>
              <a:effectLst/>
            </c:spPr>
            <c:extLst>
              <c:ext xmlns:c16="http://schemas.microsoft.com/office/drawing/2014/chart" uri="{C3380CC4-5D6E-409C-BE32-E72D297353CC}">
                <c16:uniqueId val="{00000005-145E-40B5-BBD1-907BDD2F7C4D}"/>
              </c:ext>
            </c:extLst>
          </c:dPt>
          <c:dPt>
            <c:idx val="3"/>
            <c:bubble3D val="0"/>
            <c:spPr>
              <a:solidFill>
                <a:srgbClr val="012169"/>
              </a:solidFill>
              <a:ln w="19050">
                <a:solidFill>
                  <a:schemeClr val="lt1"/>
                </a:solidFill>
              </a:ln>
              <a:effectLst/>
            </c:spPr>
            <c:extLst>
              <c:ext xmlns:c16="http://schemas.microsoft.com/office/drawing/2014/chart" uri="{C3380CC4-5D6E-409C-BE32-E72D297353CC}">
                <c16:uniqueId val="{00000007-145E-40B5-BBD1-907BDD2F7C4D}"/>
              </c:ext>
            </c:extLst>
          </c:dPt>
          <c:dPt>
            <c:idx val="4"/>
            <c:bubble3D val="0"/>
            <c:spPr>
              <a:solidFill>
                <a:srgbClr val="00AAE7"/>
              </a:solidFill>
              <a:ln w="19050">
                <a:solidFill>
                  <a:schemeClr val="lt1"/>
                </a:solidFill>
              </a:ln>
              <a:effectLst/>
            </c:spPr>
            <c:extLst>
              <c:ext xmlns:c16="http://schemas.microsoft.com/office/drawing/2014/chart" uri="{C3380CC4-5D6E-409C-BE32-E72D297353CC}">
                <c16:uniqueId val="{00000009-145E-40B5-BBD1-907BDD2F7C4D}"/>
              </c:ext>
            </c:extLst>
          </c:dPt>
          <c:dPt>
            <c:idx val="5"/>
            <c:bubble3D val="0"/>
            <c:spPr>
              <a:solidFill>
                <a:srgbClr val="3C504D"/>
              </a:solidFill>
              <a:ln w="19050">
                <a:solidFill>
                  <a:schemeClr val="lt1"/>
                </a:solidFill>
              </a:ln>
              <a:effectLst/>
            </c:spPr>
            <c:extLst>
              <c:ext xmlns:c16="http://schemas.microsoft.com/office/drawing/2014/chart" uri="{C3380CC4-5D6E-409C-BE32-E72D297353CC}">
                <c16:uniqueId val="{0000000B-145E-40B5-BBD1-907BDD2F7C4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Government</c:v>
                </c:pt>
                <c:pt idx="1">
                  <c:v>Technology media and telecommunications</c:v>
                </c:pt>
                <c:pt idx="2">
                  <c:v>Consumer</c:v>
                </c:pt>
                <c:pt idx="3">
                  <c:v>Energy, resources and industrials</c:v>
                </c:pt>
                <c:pt idx="4">
                  <c:v>Financial services</c:v>
                </c:pt>
                <c:pt idx="5">
                  <c:v>Life sciences &amp; health care</c:v>
                </c:pt>
              </c:strCache>
            </c:strRef>
          </c:cat>
          <c:val>
            <c:numRef>
              <c:f>Sheet1!$B$2:$B$7</c:f>
              <c:numCache>
                <c:formatCode>General</c:formatCode>
                <c:ptCount val="6"/>
                <c:pt idx="0">
                  <c:v>4</c:v>
                </c:pt>
                <c:pt idx="1">
                  <c:v>4</c:v>
                </c:pt>
                <c:pt idx="2">
                  <c:v>3</c:v>
                </c:pt>
                <c:pt idx="3">
                  <c:v>3</c:v>
                </c:pt>
                <c:pt idx="4">
                  <c:v>2</c:v>
                </c:pt>
                <c:pt idx="5">
                  <c:v>1</c:v>
                </c:pt>
              </c:numCache>
            </c:numRef>
          </c:val>
          <c:extLst>
            <c:ext xmlns:c16="http://schemas.microsoft.com/office/drawing/2014/chart" uri="{C3380CC4-5D6E-409C-BE32-E72D297353CC}">
              <c16:uniqueId val="{0000000C-145E-40B5-BBD1-907BDD2F7C4D}"/>
            </c:ext>
          </c:extLst>
        </c:ser>
        <c:dLbls>
          <c:showLegendKey val="0"/>
          <c:showVal val="1"/>
          <c:showCatName val="0"/>
          <c:showSerName val="0"/>
          <c:showPercent val="0"/>
          <c:showBubbleSize val="0"/>
          <c:showLeaderLines val="1"/>
        </c:dLbls>
        <c:firstSliceAng val="0"/>
        <c:holeSize val="74"/>
      </c:doughnutChart>
      <c:spPr>
        <a:noFill/>
        <a:ln>
          <a:noFill/>
        </a:ln>
        <a:effectLst/>
      </c:spPr>
    </c:plotArea>
    <c:legend>
      <c:legendPos val="b"/>
      <c:layout>
        <c:manualLayout>
          <c:xMode val="edge"/>
          <c:yMode val="edge"/>
          <c:x val="1.8030158046527746E-3"/>
          <c:y val="0.70852743376238325"/>
          <c:w val="0.9963939683906945"/>
          <c:h val="0.2727326831921939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53552010307371"/>
          <c:y val="2.4820366776942104E-2"/>
          <c:w val="0.83910799289075111"/>
          <c:h val="0.88342880519806888"/>
        </c:manualLayout>
      </c:layout>
      <c:barChart>
        <c:barDir val="col"/>
        <c:grouping val="clustered"/>
        <c:varyColors val="0"/>
        <c:ser>
          <c:idx val="0"/>
          <c:order val="0"/>
          <c:tx>
            <c:strRef>
              <c:f>Sheet1!$B$1</c:f>
              <c:strCache>
                <c:ptCount val="1"/>
                <c:pt idx="0">
                  <c:v>Column1</c:v>
                </c:pt>
              </c:strCache>
            </c:strRef>
          </c:tx>
          <c:spPr>
            <a:solidFill>
              <a:srgbClr val="0097A9"/>
            </a:solidFill>
            <a:ln>
              <a:noFill/>
            </a:ln>
            <a:effectLst/>
          </c:spPr>
          <c:invertIfNegative val="0"/>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B$2:$B$11</c:f>
              <c:numCache>
                <c:formatCode>General</c:formatCode>
                <c:ptCount val="10"/>
                <c:pt idx="0">
                  <c:v>1</c:v>
                </c:pt>
                <c:pt idx="1">
                  <c:v>0</c:v>
                </c:pt>
                <c:pt idx="2">
                  <c:v>1</c:v>
                </c:pt>
                <c:pt idx="3">
                  <c:v>3</c:v>
                </c:pt>
                <c:pt idx="4">
                  <c:v>4</c:v>
                </c:pt>
                <c:pt idx="5">
                  <c:v>2</c:v>
                </c:pt>
                <c:pt idx="6">
                  <c:v>4</c:v>
                </c:pt>
                <c:pt idx="7">
                  <c:v>1</c:v>
                </c:pt>
                <c:pt idx="8">
                  <c:v>1</c:v>
                </c:pt>
                <c:pt idx="9">
                  <c:v>0</c:v>
                </c:pt>
              </c:numCache>
            </c:numRef>
          </c:val>
          <c:extLst>
            <c:ext xmlns:c16="http://schemas.microsoft.com/office/drawing/2014/chart" uri="{C3380CC4-5D6E-409C-BE32-E72D297353CC}">
              <c16:uniqueId val="{00000000-58FE-48CC-8F64-E213F04CFB1C}"/>
            </c:ext>
          </c:extLst>
        </c:ser>
        <c:dLbls>
          <c:showLegendKey val="0"/>
          <c:showVal val="0"/>
          <c:showCatName val="0"/>
          <c:showSerName val="0"/>
          <c:showPercent val="0"/>
          <c:showBubbleSize val="0"/>
        </c:dLbls>
        <c:gapWidth val="130"/>
        <c:overlap val="100"/>
        <c:axId val="1072141760"/>
        <c:axId val="1072139680"/>
      </c:barChart>
      <c:catAx>
        <c:axId val="1072141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72139680"/>
        <c:crosses val="autoZero"/>
        <c:auto val="1"/>
        <c:lblAlgn val="ctr"/>
        <c:lblOffset val="100"/>
        <c:noMultiLvlLbl val="0"/>
      </c:catAx>
      <c:valAx>
        <c:axId val="1072139680"/>
        <c:scaling>
          <c:orientation val="minMax"/>
          <c:max val="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 respondents</a:t>
                </a:r>
              </a:p>
            </c:rich>
          </c:tx>
          <c:layout>
            <c:manualLayout>
              <c:xMode val="edge"/>
              <c:yMode val="edge"/>
              <c:x val="1.9414988187431991E-2"/>
              <c:y val="0.33662025871737794"/>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72141760"/>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739630705547657"/>
          <c:y val="6.8785229403840562E-2"/>
          <c:w val="0.71109772350252609"/>
          <c:h val="0.74179349692279251"/>
        </c:manualLayout>
      </c:layout>
      <c:barChart>
        <c:barDir val="col"/>
        <c:grouping val="percentStacked"/>
        <c:varyColors val="0"/>
        <c:ser>
          <c:idx val="0"/>
          <c:order val="0"/>
          <c:tx>
            <c:strRef>
              <c:f>Sheet1!$B$1</c:f>
              <c:strCache>
                <c:ptCount val="1"/>
                <c:pt idx="0">
                  <c:v>Business-led</c:v>
                </c:pt>
              </c:strCache>
            </c:strRef>
          </c:tx>
          <c:spPr>
            <a:solidFill>
              <a:srgbClr val="D0D0CE"/>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Business vs IT lead</c:v>
                </c:pt>
              </c:strCache>
            </c:strRef>
          </c:cat>
          <c:val>
            <c:numRef>
              <c:f>Sheet1!$B$2</c:f>
              <c:numCache>
                <c:formatCode>0%</c:formatCode>
                <c:ptCount val="1"/>
                <c:pt idx="0">
                  <c:v>0.24</c:v>
                </c:pt>
              </c:numCache>
            </c:numRef>
          </c:val>
          <c:extLst>
            <c:ext xmlns:c16="http://schemas.microsoft.com/office/drawing/2014/chart" uri="{C3380CC4-5D6E-409C-BE32-E72D297353CC}">
              <c16:uniqueId val="{00000000-B26E-4380-BC4A-CB66316C6DDF}"/>
            </c:ext>
          </c:extLst>
        </c:ser>
        <c:ser>
          <c:idx val="1"/>
          <c:order val="1"/>
          <c:tx>
            <c:strRef>
              <c:f>Sheet1!$C$1</c:f>
              <c:strCache>
                <c:ptCount val="1"/>
                <c:pt idx="0">
                  <c:v>IT-led</c:v>
                </c:pt>
              </c:strCache>
            </c:strRef>
          </c:tx>
          <c:spPr>
            <a:solidFill>
              <a:srgbClr val="00ABAB"/>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Business vs IT lead</c:v>
                </c:pt>
              </c:strCache>
            </c:strRef>
          </c:cat>
          <c:val>
            <c:numRef>
              <c:f>Sheet1!$C$2</c:f>
              <c:numCache>
                <c:formatCode>0%</c:formatCode>
                <c:ptCount val="1"/>
                <c:pt idx="0">
                  <c:v>0.53</c:v>
                </c:pt>
              </c:numCache>
            </c:numRef>
          </c:val>
          <c:extLst>
            <c:ext xmlns:c16="http://schemas.microsoft.com/office/drawing/2014/chart" uri="{C3380CC4-5D6E-409C-BE32-E72D297353CC}">
              <c16:uniqueId val="{00000001-B26E-4380-BC4A-CB66316C6DDF}"/>
            </c:ext>
          </c:extLst>
        </c:ser>
        <c:ser>
          <c:idx val="2"/>
          <c:order val="2"/>
          <c:tx>
            <c:strRef>
              <c:f>Sheet1!$D$1</c:f>
              <c:strCache>
                <c:ptCount val="1"/>
                <c:pt idx="0">
                  <c:v>Co-led by IT and Business</c:v>
                </c:pt>
              </c:strCache>
            </c:strRef>
          </c:tx>
          <c:spPr>
            <a:solidFill>
              <a:srgbClr val="0097A9"/>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Business vs IT lead</c:v>
                </c:pt>
              </c:strCache>
            </c:strRef>
          </c:cat>
          <c:val>
            <c:numRef>
              <c:f>Sheet1!$D$2</c:f>
              <c:numCache>
                <c:formatCode>0%</c:formatCode>
                <c:ptCount val="1"/>
                <c:pt idx="0">
                  <c:v>0.24</c:v>
                </c:pt>
              </c:numCache>
            </c:numRef>
          </c:val>
          <c:extLst>
            <c:ext xmlns:c16="http://schemas.microsoft.com/office/drawing/2014/chart" uri="{C3380CC4-5D6E-409C-BE32-E72D297353CC}">
              <c16:uniqueId val="{00000002-B26E-4380-BC4A-CB66316C6DDF}"/>
            </c:ext>
          </c:extLst>
        </c:ser>
        <c:dLbls>
          <c:showLegendKey val="0"/>
          <c:showVal val="0"/>
          <c:showCatName val="0"/>
          <c:showSerName val="0"/>
          <c:showPercent val="0"/>
          <c:showBubbleSize val="0"/>
        </c:dLbls>
        <c:gapWidth val="150"/>
        <c:overlap val="100"/>
        <c:axId val="1072170464"/>
        <c:axId val="1072167968"/>
      </c:barChart>
      <c:catAx>
        <c:axId val="1072170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72167968"/>
        <c:crossesAt val="0"/>
        <c:auto val="1"/>
        <c:lblAlgn val="ctr"/>
        <c:lblOffset val="100"/>
        <c:noMultiLvlLbl val="0"/>
      </c:catAx>
      <c:valAx>
        <c:axId val="107216796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dirty="0"/>
                  <a:t>% respondents</a:t>
                </a:r>
              </a:p>
            </c:rich>
          </c:tx>
          <c:layout>
            <c:manualLayout>
              <c:xMode val="edge"/>
              <c:yMode val="edge"/>
              <c:x val="3.2986812480515124E-3"/>
              <c:y val="0.26537943421643467"/>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72170464"/>
        <c:crosses val="autoZero"/>
        <c:crossBetween val="between"/>
      </c:valAx>
      <c:spPr>
        <a:noFill/>
        <a:ln>
          <a:noFill/>
        </a:ln>
        <a:effectLst/>
      </c:spPr>
    </c:plotArea>
    <c:legend>
      <c:legendPos val="b"/>
      <c:layout>
        <c:manualLayout>
          <c:xMode val="edge"/>
          <c:yMode val="edge"/>
          <c:x val="0"/>
          <c:y val="0.91643545788319813"/>
          <c:w val="1"/>
          <c:h val="8.020998969861856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38175427397154"/>
          <c:y val="6.9220198968746413E-2"/>
          <c:w val="0.63753672059249455"/>
          <c:h val="0.59315503884672638"/>
        </c:manualLayout>
      </c:layout>
      <c:doughnutChart>
        <c:varyColors val="1"/>
        <c:ser>
          <c:idx val="0"/>
          <c:order val="0"/>
          <c:tx>
            <c:strRef>
              <c:f>Sheet1!$B$1</c:f>
              <c:strCache>
                <c:ptCount val="1"/>
                <c:pt idx="0">
                  <c:v>Sales</c:v>
                </c:pt>
              </c:strCache>
            </c:strRef>
          </c:tx>
          <c:spPr>
            <a:solidFill>
              <a:srgbClr val="004751"/>
            </a:solidFill>
          </c:spPr>
          <c:dPt>
            <c:idx val="0"/>
            <c:bubble3D val="0"/>
            <c:spPr>
              <a:solidFill>
                <a:srgbClr val="004751"/>
              </a:solidFill>
              <a:ln w="19050">
                <a:solidFill>
                  <a:schemeClr val="lt1"/>
                </a:solidFill>
              </a:ln>
              <a:effectLst/>
            </c:spPr>
            <c:extLst>
              <c:ext xmlns:c16="http://schemas.microsoft.com/office/drawing/2014/chart" uri="{C3380CC4-5D6E-409C-BE32-E72D297353CC}">
                <c16:uniqueId val="{00000001-2FCD-47E0-91C9-964EFBBED832}"/>
              </c:ext>
            </c:extLst>
          </c:dPt>
          <c:dPt>
            <c:idx val="1"/>
            <c:bubble3D val="0"/>
            <c:spPr>
              <a:solidFill>
                <a:srgbClr val="8ED2CC"/>
              </a:solidFill>
              <a:ln w="19050">
                <a:solidFill>
                  <a:schemeClr val="lt1"/>
                </a:solidFill>
              </a:ln>
              <a:effectLst/>
            </c:spPr>
            <c:extLst>
              <c:ext xmlns:c16="http://schemas.microsoft.com/office/drawing/2014/chart" uri="{C3380CC4-5D6E-409C-BE32-E72D297353CC}">
                <c16:uniqueId val="{00000001-4337-4913-ADB3-D7CE0608D306}"/>
              </c:ext>
            </c:extLst>
          </c:dPt>
          <c:dPt>
            <c:idx val="2"/>
            <c:bubble3D val="0"/>
            <c:spPr>
              <a:solidFill>
                <a:srgbClr val="00B5AF"/>
              </a:solidFill>
              <a:ln w="19050">
                <a:solidFill>
                  <a:schemeClr val="lt1"/>
                </a:solidFill>
              </a:ln>
              <a:effectLst/>
            </c:spPr>
            <c:extLst>
              <c:ext xmlns:c16="http://schemas.microsoft.com/office/drawing/2014/chart" uri="{C3380CC4-5D6E-409C-BE32-E72D297353CC}">
                <c16:uniqueId val="{00000002-4337-4913-ADB3-D7CE0608D30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On-premise infrastucture offloading</c:v>
                </c:pt>
                <c:pt idx="1">
                  <c:v>Decentralised empowerment</c:v>
                </c:pt>
                <c:pt idx="2">
                  <c:v>Agility and innovation</c:v>
                </c:pt>
              </c:strCache>
            </c:strRef>
          </c:cat>
          <c:val>
            <c:numRef>
              <c:f>Sheet1!$B$2:$B$4</c:f>
              <c:numCache>
                <c:formatCode>General</c:formatCode>
                <c:ptCount val="3"/>
                <c:pt idx="0">
                  <c:v>5</c:v>
                </c:pt>
                <c:pt idx="1">
                  <c:v>2</c:v>
                </c:pt>
                <c:pt idx="2">
                  <c:v>10</c:v>
                </c:pt>
              </c:numCache>
            </c:numRef>
          </c:val>
          <c:extLst>
            <c:ext xmlns:c16="http://schemas.microsoft.com/office/drawing/2014/chart" uri="{C3380CC4-5D6E-409C-BE32-E72D297353CC}">
              <c16:uniqueId val="{00000000-4337-4913-ADB3-D7CE0608D306}"/>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7.7647675396858226E-3"/>
          <c:y val="0.80237857863165396"/>
          <c:w val="0.9922352324603142"/>
          <c:h val="0.1801611594320022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0097A9"/>
            </a:solidFill>
            <a:ln>
              <a:noFill/>
            </a:ln>
            <a:effectLst/>
          </c:spPr>
          <c:invertIfNegative val="0"/>
          <c:cat>
            <c:strRef>
              <c:f>Sheet1!$A$2:$A$11</c:f>
              <c:strCache>
                <c:ptCount val="10"/>
                <c:pt idx="0">
                  <c:v>Providing better sustainability in support of enviornmental issues</c:v>
                </c:pt>
                <c:pt idx="1">
                  <c:v>Creating new operational processes or workflows</c:v>
                </c:pt>
                <c:pt idx="2">
                  <c:v>Expanding into new markets</c:v>
                </c:pt>
                <c:pt idx="3">
                  <c:v>Expanding existing product/service revenue</c:v>
                </c:pt>
                <c:pt idx="4">
                  <c:v>Mitigating business and regulatory risk</c:v>
                </c:pt>
                <c:pt idx="5">
                  <c:v>Building net new product/service revenue</c:v>
                </c:pt>
                <c:pt idx="6">
                  <c:v>Increasing resilience and security</c:v>
                </c:pt>
                <c:pt idx="7">
                  <c:v>Developing new ideas, approaches, or methodologies</c:v>
                </c:pt>
                <c:pt idx="8">
                  <c:v>Reducing optimising costs</c:v>
                </c:pt>
                <c:pt idx="9">
                  <c:v>Increasing efficiency and agility</c:v>
                </c:pt>
              </c:strCache>
            </c:strRef>
          </c:cat>
          <c:val>
            <c:numRef>
              <c:f>Sheet1!$B$2:$B$11</c:f>
              <c:numCache>
                <c:formatCode>General</c:formatCode>
                <c:ptCount val="10"/>
                <c:pt idx="0">
                  <c:v>0</c:v>
                </c:pt>
                <c:pt idx="1">
                  <c:v>1</c:v>
                </c:pt>
                <c:pt idx="2">
                  <c:v>1</c:v>
                </c:pt>
                <c:pt idx="3">
                  <c:v>2</c:v>
                </c:pt>
                <c:pt idx="4">
                  <c:v>2</c:v>
                </c:pt>
                <c:pt idx="5">
                  <c:v>6</c:v>
                </c:pt>
                <c:pt idx="6">
                  <c:v>7</c:v>
                </c:pt>
                <c:pt idx="7">
                  <c:v>7</c:v>
                </c:pt>
                <c:pt idx="8">
                  <c:v>8</c:v>
                </c:pt>
                <c:pt idx="9">
                  <c:v>16</c:v>
                </c:pt>
              </c:numCache>
            </c:numRef>
          </c:val>
          <c:extLst>
            <c:ext xmlns:c16="http://schemas.microsoft.com/office/drawing/2014/chart" uri="{C3380CC4-5D6E-409C-BE32-E72D297353CC}">
              <c16:uniqueId val="{00000000-26F6-4992-9228-C4ADEA956532}"/>
            </c:ext>
          </c:extLst>
        </c:ser>
        <c:dLbls>
          <c:showLegendKey val="0"/>
          <c:showVal val="0"/>
          <c:showCatName val="0"/>
          <c:showSerName val="0"/>
          <c:showPercent val="0"/>
          <c:showBubbleSize val="0"/>
        </c:dLbls>
        <c:gapWidth val="30"/>
        <c:axId val="116234319"/>
        <c:axId val="116218927"/>
      </c:barChart>
      <c:catAx>
        <c:axId val="11623431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900" b="0" i="0" u="none" strike="noStrike" kern="1200" baseline="0">
                <a:solidFill>
                  <a:schemeClr val="tx1">
                    <a:lumMod val="65000"/>
                    <a:lumOff val="35000"/>
                  </a:schemeClr>
                </a:solidFill>
                <a:latin typeface="+mn-lt"/>
                <a:ea typeface="+mn-ea"/>
                <a:cs typeface="+mn-cs"/>
              </a:defRPr>
            </a:pPr>
            <a:endParaRPr lang="en-US"/>
          </a:p>
        </c:txPr>
        <c:crossAx val="116218927"/>
        <c:crosses val="autoZero"/>
        <c:auto val="1"/>
        <c:lblAlgn val="ctr"/>
        <c:lblOffset val="100"/>
        <c:noMultiLvlLbl val="0"/>
      </c:catAx>
      <c:valAx>
        <c:axId val="116218927"/>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dirty="0"/>
                  <a:t># respondents</a:t>
                </a:r>
              </a:p>
            </c:rich>
          </c:tx>
          <c:layout>
            <c:manualLayout>
              <c:xMode val="edge"/>
              <c:yMode val="edge"/>
              <c:x val="0.63169729683727294"/>
              <c:y val="0.9307726254944738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62343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1406203301473"/>
          <c:y val="2.583200073288193E-2"/>
          <c:w val="0.65973274666658077"/>
          <c:h val="0.66502958778870269"/>
        </c:manualLayout>
      </c:layout>
      <c:pieChart>
        <c:varyColors val="1"/>
        <c:ser>
          <c:idx val="0"/>
          <c:order val="0"/>
          <c:tx>
            <c:strRef>
              <c:f>Sheet1!$B$1</c:f>
              <c:strCache>
                <c:ptCount val="1"/>
                <c:pt idx="0">
                  <c:v>Number of Respondents</c:v>
                </c:pt>
              </c:strCache>
            </c:strRef>
          </c:tx>
          <c:spPr>
            <a:solidFill>
              <a:srgbClr val="004751"/>
            </a:solidFill>
          </c:spPr>
          <c:dPt>
            <c:idx val="0"/>
            <c:bubble3D val="0"/>
            <c:spPr>
              <a:solidFill>
                <a:srgbClr val="004751"/>
              </a:solidFill>
              <a:ln w="19050">
                <a:solidFill>
                  <a:schemeClr val="lt1"/>
                </a:solidFill>
              </a:ln>
              <a:effectLst/>
            </c:spPr>
            <c:extLst>
              <c:ext xmlns:c16="http://schemas.microsoft.com/office/drawing/2014/chart" uri="{C3380CC4-5D6E-409C-BE32-E72D297353CC}">
                <c16:uniqueId val="{00000001-E880-4FE5-80C7-AF4873D87499}"/>
              </c:ext>
            </c:extLst>
          </c:dPt>
          <c:dPt>
            <c:idx val="1"/>
            <c:bubble3D val="0"/>
            <c:spPr>
              <a:solidFill>
                <a:srgbClr val="8ED2CC"/>
              </a:solidFill>
              <a:ln w="19050">
                <a:solidFill>
                  <a:schemeClr val="lt1"/>
                </a:solidFill>
              </a:ln>
              <a:effectLst/>
            </c:spPr>
            <c:extLst>
              <c:ext xmlns:c16="http://schemas.microsoft.com/office/drawing/2014/chart" uri="{C3380CC4-5D6E-409C-BE32-E72D297353CC}">
                <c16:uniqueId val="{00000001-5A99-4A21-84F2-6FBDA926E4E8}"/>
              </c:ext>
            </c:extLst>
          </c:dPt>
          <c:dPt>
            <c:idx val="2"/>
            <c:bubble3D val="0"/>
            <c:spPr>
              <a:solidFill>
                <a:srgbClr val="00B5AF"/>
              </a:solidFill>
              <a:ln w="19050">
                <a:solidFill>
                  <a:schemeClr val="lt1"/>
                </a:solidFill>
              </a:ln>
              <a:effectLst/>
            </c:spPr>
            <c:extLst>
              <c:ext xmlns:c16="http://schemas.microsoft.com/office/drawing/2014/chart" uri="{C3380CC4-5D6E-409C-BE32-E72D297353CC}">
                <c16:uniqueId val="{00000002-5A99-4A21-84F2-6FBDA926E4E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ully Outsourced</c:v>
                </c:pt>
                <c:pt idx="1">
                  <c:v>Internal Cloud Center of Excellence supported by external expertise</c:v>
                </c:pt>
                <c:pt idx="2">
                  <c:v>Mainly Internal</c:v>
                </c:pt>
              </c:strCache>
            </c:strRef>
          </c:cat>
          <c:val>
            <c:numRef>
              <c:f>Sheet1!$B$2:$B$4</c:f>
              <c:numCache>
                <c:formatCode>General</c:formatCode>
                <c:ptCount val="3"/>
                <c:pt idx="0">
                  <c:v>2</c:v>
                </c:pt>
                <c:pt idx="1">
                  <c:v>8</c:v>
                </c:pt>
                <c:pt idx="2">
                  <c:v>7</c:v>
                </c:pt>
              </c:numCache>
            </c:numRef>
          </c:val>
          <c:extLst>
            <c:ext xmlns:c16="http://schemas.microsoft.com/office/drawing/2014/chart" uri="{C3380CC4-5D6E-409C-BE32-E72D297353CC}">
              <c16:uniqueId val="{00000000-5A99-4A21-84F2-6FBDA926E4E8}"/>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1720143945639148E-3"/>
          <c:y val="0.8107267475233344"/>
          <c:w val="0.99882798560543606"/>
          <c:h val="0.1892732524766654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0097A9"/>
            </a:solidFill>
            <a:ln>
              <a:noFill/>
            </a:ln>
            <a:effectLst/>
          </c:spPr>
          <c:invertIfNegative val="0"/>
          <c:cat>
            <c:strRef>
              <c:f>Sheet1!$A$2:$A$8</c:f>
              <c:strCache>
                <c:ptCount val="7"/>
                <c:pt idx="0">
                  <c:v>Competitive differentiation Risk</c:v>
                </c:pt>
                <c:pt idx="1">
                  <c:v>Operating model (shared responsibilities)</c:v>
                </c:pt>
                <c:pt idx="2">
                  <c:v>Integration and Customisation Challenges</c:v>
                </c:pt>
                <c:pt idx="3">
                  <c:v>Data Security and Control Concerns</c:v>
                </c:pt>
                <c:pt idx="4">
                  <c:v>Vendor-related Issues (vendor lock-in, trust issues,
hyperscalers becoming competitors, etc.)</c:v>
                </c:pt>
                <c:pt idx="5">
                  <c:v>Cost and Value Estimation Issue</c:v>
                </c:pt>
                <c:pt idx="6">
                  <c:v>Skills and Knowledge Deficit</c:v>
                </c:pt>
              </c:strCache>
            </c:strRef>
          </c:cat>
          <c:val>
            <c:numRef>
              <c:f>Sheet1!$B$2:$B$8</c:f>
              <c:numCache>
                <c:formatCode>General</c:formatCode>
                <c:ptCount val="7"/>
                <c:pt idx="0">
                  <c:v>0</c:v>
                </c:pt>
                <c:pt idx="1">
                  <c:v>2</c:v>
                </c:pt>
                <c:pt idx="2">
                  <c:v>6</c:v>
                </c:pt>
                <c:pt idx="3">
                  <c:v>7</c:v>
                </c:pt>
                <c:pt idx="4">
                  <c:v>8</c:v>
                </c:pt>
                <c:pt idx="5">
                  <c:v>11</c:v>
                </c:pt>
                <c:pt idx="6">
                  <c:v>13</c:v>
                </c:pt>
              </c:numCache>
            </c:numRef>
          </c:val>
          <c:extLst>
            <c:ext xmlns:c16="http://schemas.microsoft.com/office/drawing/2014/chart" uri="{C3380CC4-5D6E-409C-BE32-E72D297353CC}">
              <c16:uniqueId val="{00000000-AEEC-4DBD-9183-8188E504D527}"/>
            </c:ext>
          </c:extLst>
        </c:ser>
        <c:dLbls>
          <c:showLegendKey val="0"/>
          <c:showVal val="0"/>
          <c:showCatName val="0"/>
          <c:showSerName val="0"/>
          <c:showPercent val="0"/>
          <c:showBubbleSize val="0"/>
        </c:dLbls>
        <c:gapWidth val="30"/>
        <c:axId val="116234319"/>
        <c:axId val="116218927"/>
      </c:barChart>
      <c:catAx>
        <c:axId val="11623431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000" b="0" i="0" u="none" strike="noStrike" kern="1200" baseline="0">
                <a:solidFill>
                  <a:schemeClr val="tx1">
                    <a:lumMod val="65000"/>
                    <a:lumOff val="35000"/>
                  </a:schemeClr>
                </a:solidFill>
                <a:latin typeface="+mn-lt"/>
                <a:ea typeface="+mn-ea"/>
                <a:cs typeface="+mn-cs"/>
              </a:defRPr>
            </a:pPr>
            <a:endParaRPr lang="en-US"/>
          </a:p>
        </c:txPr>
        <c:crossAx val="116218927"/>
        <c:crosses val="autoZero"/>
        <c:auto val="1"/>
        <c:lblAlgn val="ctr"/>
        <c:lblOffset val="100"/>
        <c:noMultiLvlLbl val="0"/>
      </c:catAx>
      <c:valAx>
        <c:axId val="116218927"/>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aseline="0" dirty="0"/>
                  <a:t># respondents</a:t>
                </a:r>
                <a:endParaRPr lang="en-US" sz="1000" dirty="0"/>
              </a:p>
            </c:rich>
          </c:tx>
          <c:layout>
            <c:manualLayout>
              <c:xMode val="edge"/>
              <c:yMode val="edge"/>
              <c:x val="0.63169729683727294"/>
              <c:y val="0.9307726254944738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62343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23285445785361"/>
          <c:y val="1.0755958405419193E-2"/>
          <c:w val="0.78764682103174555"/>
          <c:h val="0.81277452872050304"/>
        </c:manualLayout>
      </c:layout>
      <c:pieChart>
        <c:varyColors val="1"/>
        <c:ser>
          <c:idx val="0"/>
          <c:order val="0"/>
          <c:tx>
            <c:strRef>
              <c:f>Sheet1!$B$1</c:f>
              <c:strCache>
                <c:ptCount val="1"/>
                <c:pt idx="0">
                  <c:v>Number of Respondents</c:v>
                </c:pt>
              </c:strCache>
            </c:strRef>
          </c:tx>
          <c:spPr>
            <a:solidFill>
              <a:srgbClr val="004751"/>
            </a:solidFill>
          </c:spPr>
          <c:dPt>
            <c:idx val="0"/>
            <c:bubble3D val="0"/>
            <c:spPr>
              <a:solidFill>
                <a:srgbClr val="8ED2CC"/>
              </a:solidFill>
              <a:ln w="19050">
                <a:solidFill>
                  <a:schemeClr val="lt1"/>
                </a:solidFill>
              </a:ln>
              <a:effectLst/>
            </c:spPr>
            <c:extLst>
              <c:ext xmlns:c16="http://schemas.microsoft.com/office/drawing/2014/chart" uri="{C3380CC4-5D6E-409C-BE32-E72D297353CC}">
                <c16:uniqueId val="{00000001-EA4B-4B0B-80B1-55E4FCCD3F1F}"/>
              </c:ext>
            </c:extLst>
          </c:dPt>
          <c:dPt>
            <c:idx val="1"/>
            <c:bubble3D val="0"/>
            <c:spPr>
              <a:solidFill>
                <a:srgbClr val="00B5AF"/>
              </a:solidFill>
              <a:ln w="19050">
                <a:solidFill>
                  <a:schemeClr val="lt1"/>
                </a:solidFill>
              </a:ln>
              <a:effectLst/>
            </c:spPr>
            <c:extLst>
              <c:ext xmlns:c16="http://schemas.microsoft.com/office/drawing/2014/chart" uri="{C3380CC4-5D6E-409C-BE32-E72D297353CC}">
                <c16:uniqueId val="{00000003-EA4B-4B0B-80B1-55E4FCCD3F1F}"/>
              </c:ext>
            </c:extLst>
          </c:dPt>
          <c:dPt>
            <c:idx val="2"/>
            <c:bubble3D val="0"/>
            <c:spPr>
              <a:solidFill>
                <a:srgbClr val="004A7C"/>
              </a:solidFill>
              <a:ln w="19050">
                <a:solidFill>
                  <a:schemeClr val="lt1"/>
                </a:solidFill>
              </a:ln>
              <a:effectLst/>
            </c:spPr>
            <c:extLst>
              <c:ext xmlns:c16="http://schemas.microsoft.com/office/drawing/2014/chart" uri="{C3380CC4-5D6E-409C-BE32-E72D297353CC}">
                <c16:uniqueId val="{00000005-EA4B-4B0B-80B1-55E4FCCD3F1F}"/>
              </c:ext>
            </c:extLst>
          </c:dPt>
          <c:dPt>
            <c:idx val="3"/>
            <c:bubble3D val="0"/>
            <c:spPr>
              <a:solidFill>
                <a:srgbClr val="00AAE7"/>
              </a:solidFill>
              <a:ln w="19050">
                <a:solidFill>
                  <a:schemeClr val="lt1"/>
                </a:solidFill>
              </a:ln>
              <a:effectLst/>
            </c:spPr>
            <c:extLst>
              <c:ext xmlns:c16="http://schemas.microsoft.com/office/drawing/2014/chart" uri="{C3380CC4-5D6E-409C-BE32-E72D297353CC}">
                <c16:uniqueId val="{00000007-EA4B-4B0B-80B1-55E4FCCD3F1F}"/>
              </c:ext>
            </c:extLst>
          </c:dPt>
          <c:dPt>
            <c:idx val="4"/>
            <c:bubble3D val="0"/>
            <c:spPr>
              <a:solidFill>
                <a:srgbClr val="004751"/>
              </a:solidFill>
              <a:ln w="19050">
                <a:solidFill>
                  <a:schemeClr val="lt1"/>
                </a:solidFill>
              </a:ln>
              <a:effectLst/>
            </c:spPr>
            <c:extLst>
              <c:ext xmlns:c16="http://schemas.microsoft.com/office/drawing/2014/chart" uri="{C3380CC4-5D6E-409C-BE32-E72D297353CC}">
                <c16:uniqueId val="{00000008-EA4B-4B0B-80B1-55E4FCCD3F1F}"/>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EA4B-4B0B-80B1-55E4FCCD3F1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6</c:f>
              <c:strCache>
                <c:ptCount val="5"/>
                <c:pt idx="0">
                  <c:v>Azure</c:v>
                </c:pt>
                <c:pt idx="1">
                  <c:v>AWS &amp; Azure</c:v>
                </c:pt>
                <c:pt idx="2">
                  <c:v>AWS &amp; Azure &amp; GCP</c:v>
                </c:pt>
                <c:pt idx="3">
                  <c:v>AWS &amp; GCP</c:v>
                </c:pt>
                <c:pt idx="4">
                  <c:v>AWS</c:v>
                </c:pt>
              </c:strCache>
            </c:strRef>
          </c:cat>
          <c:val>
            <c:numRef>
              <c:f>Sheet1!$B$2:$B$6</c:f>
              <c:numCache>
                <c:formatCode>General</c:formatCode>
                <c:ptCount val="5"/>
                <c:pt idx="0">
                  <c:v>9</c:v>
                </c:pt>
                <c:pt idx="1">
                  <c:v>2</c:v>
                </c:pt>
                <c:pt idx="2">
                  <c:v>4</c:v>
                </c:pt>
                <c:pt idx="3">
                  <c:v>1</c:v>
                </c:pt>
                <c:pt idx="4">
                  <c:v>1</c:v>
                </c:pt>
              </c:numCache>
            </c:numRef>
          </c:val>
          <c:extLst>
            <c:ext xmlns:c16="http://schemas.microsoft.com/office/drawing/2014/chart" uri="{C3380CC4-5D6E-409C-BE32-E72D297353CC}">
              <c16:uniqueId val="{00000006-EA4B-4B0B-80B1-55E4FCCD3F1F}"/>
            </c:ext>
          </c:extLst>
        </c:ser>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1.1720143945639148E-3"/>
          <c:y val="0.91500314221943968"/>
          <c:w val="0.99882798560543606"/>
          <c:h val="8.499685778056030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0DB08D-B936-46E7-9FB1-23BB8B7884E5}" type="datetimeFigureOut">
              <a:rPr lang="nl-BE" smtClean="0"/>
              <a:t>26/11/2023</a:t>
            </a:fld>
            <a:endParaRPr lang="nl-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AC65C0-426A-4AE9-838B-46BB1770CE5C}" type="slidenum">
              <a:rPr lang="nl-BE" smtClean="0"/>
              <a:t>‹#›</a:t>
            </a:fld>
            <a:endParaRPr lang="nl-BE"/>
          </a:p>
        </p:txBody>
      </p:sp>
    </p:spTree>
    <p:extLst>
      <p:ext uri="{BB962C8B-B14F-4D97-AF65-F5344CB8AC3E}">
        <p14:creationId xmlns:p14="http://schemas.microsoft.com/office/powerpoint/2010/main" val="4533204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rPr>
              <a:t>Mid-sized to large </a:t>
            </a:r>
            <a:r>
              <a:rPr kumimoji="0" lang="en-US" sz="1200" b="1" i="0" u="none" strike="noStrike" kern="0" cap="none" spc="0" normalizeH="0" baseline="0" noProof="0" dirty="0" err="1">
                <a:ln>
                  <a:noFill/>
                </a:ln>
                <a:solidFill>
                  <a:prstClr val="black"/>
                </a:solidFill>
                <a:effectLst/>
                <a:uLnTx/>
                <a:uFillTx/>
              </a:rPr>
              <a:t>organisations</a:t>
            </a:r>
            <a:endParaRPr kumimoji="0" lang="en-GB" sz="1200" b="0" i="0" u="none" strike="noStrike" kern="0" cap="none" spc="0" normalizeH="0" baseline="0" noProof="0" dirty="0">
              <a:ln>
                <a:noFill/>
              </a:ln>
              <a:solidFill>
                <a:prstClr val="black"/>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rPr>
              <a:t>IT budget between €20 million to +€150 million </a:t>
            </a:r>
            <a:endParaRPr kumimoji="0" lang="en-GB" sz="1200" b="0" i="0" u="none" strike="noStrike" kern="0" cap="none" spc="0" normalizeH="0" baseline="0" noProof="0" dirty="0">
              <a:ln>
                <a:noFill/>
              </a:ln>
              <a:solidFill>
                <a:prstClr val="black"/>
              </a:solidFill>
              <a:effectLst/>
              <a:uLnTx/>
              <a:uFillTx/>
            </a:endParaRPr>
          </a:p>
          <a:p>
            <a:endParaRPr lang="nl-BE" dirty="0"/>
          </a:p>
        </p:txBody>
      </p:sp>
      <p:sp>
        <p:nvSpPr>
          <p:cNvPr id="4" name="Slide Number Placeholder 3"/>
          <p:cNvSpPr>
            <a:spLocks noGrp="1"/>
          </p:cNvSpPr>
          <p:nvPr>
            <p:ph type="sldNum" sz="quarter" idx="5"/>
          </p:nvPr>
        </p:nvSpPr>
        <p:spPr/>
        <p:txBody>
          <a:bodyPr/>
          <a:lstStyle/>
          <a:p>
            <a:fld id="{72AC65C0-426A-4AE9-838B-46BB1770CE5C}" type="slidenum">
              <a:rPr lang="nl-BE" smtClean="0"/>
              <a:t>3</a:t>
            </a:fld>
            <a:endParaRPr lang="nl-BE"/>
          </a:p>
        </p:txBody>
      </p:sp>
    </p:spTree>
    <p:extLst>
      <p:ext uri="{BB962C8B-B14F-4D97-AF65-F5344CB8AC3E}">
        <p14:creationId xmlns:p14="http://schemas.microsoft.com/office/powerpoint/2010/main" val="3372597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AC65C0-426A-4AE9-838B-46BB1770CE5C}" type="slidenum">
              <a:rPr lang="nl-BE" smtClean="0"/>
              <a:t>4</a:t>
            </a:fld>
            <a:endParaRPr lang="nl-BE"/>
          </a:p>
        </p:txBody>
      </p:sp>
    </p:spTree>
    <p:extLst>
      <p:ext uri="{BB962C8B-B14F-4D97-AF65-F5344CB8AC3E}">
        <p14:creationId xmlns:p14="http://schemas.microsoft.com/office/powerpoint/2010/main" val="6117127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1771391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Image 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Tree>
    <p:extLst>
      <p:ext uri="{BB962C8B-B14F-4D97-AF65-F5344CB8AC3E}">
        <p14:creationId xmlns:p14="http://schemas.microsoft.com/office/powerpoint/2010/main" val="11407445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1/3 No Panel">
    <p:spTree>
      <p:nvGrpSpPr>
        <p:cNvPr id="1" name=""/>
        <p:cNvGrpSpPr/>
        <p:nvPr/>
      </p:nvGrpSpPr>
      <p:grpSpPr>
        <a:xfrm>
          <a:off x="0" y="0"/>
          <a:ext cx="0" cy="0"/>
          <a:chOff x="0" y="0"/>
          <a:chExt cx="0" cy="0"/>
        </a:xfrm>
      </p:grpSpPr>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tx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7263179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Black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7671926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Teal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 name="Picture 1">
            <a:extLst>
              <a:ext uri="{FF2B5EF4-FFF2-40B4-BE49-F238E27FC236}">
                <a16:creationId xmlns:a16="http://schemas.microsoft.com/office/drawing/2014/main" id="{E4D3112C-32AE-9A7D-D135-8080E32C0555}"/>
              </a:ext>
            </a:extLst>
          </p:cNvPr>
          <p:cNvPicPr>
            <a:picLocks noChangeAspect="1"/>
          </p:cNvPicPr>
          <p:nvPr userDrawn="1"/>
        </p:nvPicPr>
        <p:blipFill rotWithShape="1">
          <a:blip r:embed="rId2"/>
          <a:srcRect l="24239" r="34225"/>
          <a:stretch/>
        </p:blipFill>
        <p:spPr>
          <a:xfrm>
            <a:off x="-1" y="-177800"/>
            <a:ext cx="4278313" cy="6858000"/>
          </a:xfrm>
          <a:prstGeom prst="rect">
            <a:avLst/>
          </a:prstGeom>
        </p:spPr>
      </p:pic>
      <p:sp>
        <p:nvSpPr>
          <p:cNvPr id="4" name="Rectangle 12">
            <a:extLst>
              <a:ext uri="{FF2B5EF4-FFF2-40B4-BE49-F238E27FC236}">
                <a16:creationId xmlns:a16="http://schemas.microsoft.com/office/drawing/2014/main" id="{2533F4B0-22CA-DA8F-F050-6D892351DF7F}"/>
              </a:ext>
            </a:extLst>
          </p:cNvPr>
          <p:cNvSpPr/>
          <p:nvPr userDrawn="1"/>
        </p:nvSpPr>
        <p:spPr bwMode="gray">
          <a:xfrm>
            <a:off x="-1" y="1260475"/>
            <a:ext cx="4097339" cy="1828800"/>
          </a:xfrm>
          <a:custGeom>
            <a:avLst/>
            <a:gdLst>
              <a:gd name="connsiteX0" fmla="*/ 0 w 3797301"/>
              <a:gd name="connsiteY0" fmla="*/ 0 h 1828800"/>
              <a:gd name="connsiteX1" fmla="*/ 3797301 w 3797301"/>
              <a:gd name="connsiteY1" fmla="*/ 0 h 1828800"/>
              <a:gd name="connsiteX2" fmla="*/ 3797301 w 3797301"/>
              <a:gd name="connsiteY2" fmla="*/ 1828800 h 1828800"/>
              <a:gd name="connsiteX3" fmla="*/ 0 w 3797301"/>
              <a:gd name="connsiteY3" fmla="*/ 1828800 h 1828800"/>
              <a:gd name="connsiteX4" fmla="*/ 0 w 3797301"/>
              <a:gd name="connsiteY4" fmla="*/ 0 h 1828800"/>
              <a:gd name="connsiteX0" fmla="*/ 0 w 3797301"/>
              <a:gd name="connsiteY0" fmla="*/ 0 h 1828800"/>
              <a:gd name="connsiteX1" fmla="*/ 2324101 w 3797301"/>
              <a:gd name="connsiteY1" fmla="*/ 0 h 1828800"/>
              <a:gd name="connsiteX2" fmla="*/ 3797301 w 3797301"/>
              <a:gd name="connsiteY2" fmla="*/ 1828800 h 1828800"/>
              <a:gd name="connsiteX3" fmla="*/ 0 w 3797301"/>
              <a:gd name="connsiteY3" fmla="*/ 1828800 h 1828800"/>
              <a:gd name="connsiteX4" fmla="*/ 0 w 3797301"/>
              <a:gd name="connsiteY4" fmla="*/ 0 h 182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7301" h="1828800">
                <a:moveTo>
                  <a:pt x="0" y="0"/>
                </a:moveTo>
                <a:lnTo>
                  <a:pt x="2324101" y="0"/>
                </a:lnTo>
                <a:lnTo>
                  <a:pt x="3797301" y="1828800"/>
                </a:lnTo>
                <a:lnTo>
                  <a:pt x="0" y="1828800"/>
                </a:lnTo>
                <a:lnTo>
                  <a:pt x="0" y="0"/>
                </a:lnTo>
                <a:close/>
              </a:path>
            </a:pathLst>
          </a:custGeom>
          <a:solidFill>
            <a:schemeClr val="bg1">
              <a:alpha val="30196"/>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7" name="Rectangle 12">
            <a:extLst>
              <a:ext uri="{FF2B5EF4-FFF2-40B4-BE49-F238E27FC236}">
                <a16:creationId xmlns:a16="http://schemas.microsoft.com/office/drawing/2014/main" id="{9468878C-AC70-5668-C705-782D5E05DC5F}"/>
              </a:ext>
            </a:extLst>
          </p:cNvPr>
          <p:cNvSpPr/>
          <p:nvPr userDrawn="1"/>
        </p:nvSpPr>
        <p:spPr bwMode="gray">
          <a:xfrm>
            <a:off x="0" y="1391024"/>
            <a:ext cx="3484346" cy="1470867"/>
          </a:xfrm>
          <a:custGeom>
            <a:avLst/>
            <a:gdLst>
              <a:gd name="connsiteX0" fmla="*/ 0 w 3797301"/>
              <a:gd name="connsiteY0" fmla="*/ 0 h 1828800"/>
              <a:gd name="connsiteX1" fmla="*/ 3797301 w 3797301"/>
              <a:gd name="connsiteY1" fmla="*/ 0 h 1828800"/>
              <a:gd name="connsiteX2" fmla="*/ 3797301 w 3797301"/>
              <a:gd name="connsiteY2" fmla="*/ 1828800 h 1828800"/>
              <a:gd name="connsiteX3" fmla="*/ 0 w 3797301"/>
              <a:gd name="connsiteY3" fmla="*/ 1828800 h 1828800"/>
              <a:gd name="connsiteX4" fmla="*/ 0 w 3797301"/>
              <a:gd name="connsiteY4" fmla="*/ 0 h 1828800"/>
              <a:gd name="connsiteX0" fmla="*/ 0 w 3797301"/>
              <a:gd name="connsiteY0" fmla="*/ 0 h 1828800"/>
              <a:gd name="connsiteX1" fmla="*/ 2324101 w 3797301"/>
              <a:gd name="connsiteY1" fmla="*/ 0 h 1828800"/>
              <a:gd name="connsiteX2" fmla="*/ 3797301 w 3797301"/>
              <a:gd name="connsiteY2" fmla="*/ 1828800 h 1828800"/>
              <a:gd name="connsiteX3" fmla="*/ 0 w 3797301"/>
              <a:gd name="connsiteY3" fmla="*/ 1828800 h 1828800"/>
              <a:gd name="connsiteX4" fmla="*/ 0 w 3797301"/>
              <a:gd name="connsiteY4" fmla="*/ 0 h 182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7301" h="1828800">
                <a:moveTo>
                  <a:pt x="0" y="0"/>
                </a:moveTo>
                <a:lnTo>
                  <a:pt x="2324101" y="0"/>
                </a:lnTo>
                <a:lnTo>
                  <a:pt x="3797301" y="1828800"/>
                </a:lnTo>
                <a:lnTo>
                  <a:pt x="0" y="1828800"/>
                </a:lnTo>
                <a:lnTo>
                  <a:pt x="0" y="0"/>
                </a:lnTo>
                <a:close/>
              </a:path>
            </a:pathLst>
          </a:custGeom>
          <a:solidFill>
            <a:schemeClr val="accent2">
              <a:alpha val="58039"/>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l" defTabSz="742969"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dirty="0">
              <a:ln>
                <a:noFill/>
              </a:ln>
              <a:solidFill>
                <a:schemeClr val="bg1"/>
              </a:solidFill>
              <a:effectLst/>
              <a:uLnTx/>
              <a:uFillTx/>
              <a:ea typeface="+mj-ea"/>
              <a:cs typeface="Calibri Light" panose="020F0302020204030204" pitchFamily="34" charset="0"/>
            </a:endParaRPr>
          </a:p>
        </p:txBody>
      </p:sp>
      <p:cxnSp>
        <p:nvCxnSpPr>
          <p:cNvPr id="8" name="Straight Connector 7">
            <a:extLst>
              <a:ext uri="{FF2B5EF4-FFF2-40B4-BE49-F238E27FC236}">
                <a16:creationId xmlns:a16="http://schemas.microsoft.com/office/drawing/2014/main" id="{DA4C42C4-360D-5F9D-5C3B-61BA2CB904F9}"/>
              </a:ext>
            </a:extLst>
          </p:cNvPr>
          <p:cNvCxnSpPr>
            <a:cxnSpLocks/>
          </p:cNvCxnSpPr>
          <p:nvPr userDrawn="1"/>
        </p:nvCxnSpPr>
        <p:spPr>
          <a:xfrm>
            <a:off x="128588" y="2471738"/>
            <a:ext cx="2843212" cy="0"/>
          </a:xfrm>
          <a:prstGeom prst="line">
            <a:avLst/>
          </a:prstGeom>
          <a:ln>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1AE6C69-C9F2-1844-8ED5-33B14D770F41}"/>
              </a:ext>
            </a:extLst>
          </p:cNvPr>
          <p:cNvSpPr>
            <a:spLocks noGrp="1"/>
          </p:cNvSpPr>
          <p:nvPr>
            <p:ph type="title" hasCustomPrompt="1"/>
          </p:nvPr>
        </p:nvSpPr>
        <p:spPr>
          <a:xfrm>
            <a:off x="128588" y="1654326"/>
            <a:ext cx="2246312" cy="674993"/>
          </a:xfrm>
        </p:spPr>
        <p:txBody>
          <a:bodyPr vert="horz" wrap="square" lIns="0" tIns="45720" rIns="0" bIns="0" rtlCol="0" anchor="t" anchorCtr="0">
            <a:spAutoFit/>
          </a:bodyPr>
          <a:lstStyle>
            <a:lvl1pPr>
              <a:defRPr lang="en-US" sz="2400" spc="-75" dirty="0">
                <a:solidFill>
                  <a:schemeClr val="bg1"/>
                </a:solidFill>
                <a:latin typeface="+mj-lt"/>
              </a:defRPr>
            </a:lvl1pPr>
          </a:lstStyle>
          <a:p>
            <a:pPr lvl="0" defTabSz="685800">
              <a:lnSpc>
                <a:spcPct val="85000"/>
              </a:lnSpc>
            </a:pPr>
            <a:r>
              <a:rPr lang="en-US" dirty="0"/>
              <a:t>Click to edit</a:t>
            </a:r>
            <a:br>
              <a:rPr lang="en-US" dirty="0"/>
            </a:br>
            <a:r>
              <a:rPr lang="en-US" dirty="0"/>
              <a:t>Master title style</a:t>
            </a:r>
          </a:p>
        </p:txBody>
      </p:sp>
    </p:spTree>
    <p:extLst>
      <p:ext uri="{BB962C8B-B14F-4D97-AF65-F5344CB8AC3E}">
        <p14:creationId xmlns:p14="http://schemas.microsoft.com/office/powerpoint/2010/main" val="12142920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 Blue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E434C6DD-FF38-5742-8DC5-D2E59B767A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FA0DECF8-FAA2-DC42-B5A2-E0FD5856E5BE}"/>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441080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 Navy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9AC26BC7-4BA6-7F4C-9340-B434A5D456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7DE92065-1A2A-9E46-A2D5-0FC3FB3454CF}"/>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8294645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 Green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27751025-54BE-494B-8860-D9C91684F749}"/>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2CC69A61-1D8A-734D-A9CB-C0ED459EB1B2}"/>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41685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1/3 Black">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7915274" y="1"/>
            <a:ext cx="4276725" cy="6857998"/>
          </a:xfrm>
          <a:solidFill>
            <a:schemeClr val="tx1"/>
          </a:solidFill>
        </p:spPr>
        <p:txBody>
          <a:bodyPr vert="horz" lIns="365760" tIns="365760" rIns="365760" bIns="2926080" rtlCol="0" anchor="b" anchorCtr="0">
            <a:noAutofit/>
          </a:bodyPr>
          <a:lstStyle>
            <a:lvl1pPr>
              <a:lnSpc>
                <a:spcPct val="90000"/>
              </a:lnSpc>
              <a:defRPr lang="en-US" sz="3600" b="0" baseline="0" dirty="0">
                <a:solidFill>
                  <a:schemeClr val="bg1"/>
                </a:solidFill>
                <a:latin typeface="+mj-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7915275" y="4114800"/>
            <a:ext cx="4276725" cy="2743199"/>
          </a:xfrm>
        </p:spPr>
        <p:txBody>
          <a:bodyPr vert="horz" lIns="365760" tIns="0" rIns="365760" bIns="0" rtlCol="0">
            <a:noAutofit/>
          </a:bodyPr>
          <a:lstStyle>
            <a:lvl1pPr marL="0" indent="0">
              <a:buNone/>
              <a:defRPr lang="en-US" sz="1800" baseline="0" dirty="0">
                <a:solidFill>
                  <a:schemeClr val="bg1"/>
                </a:solidFill>
              </a:defRPr>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29957921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ase Study ">
    <p:spTree>
      <p:nvGrpSpPr>
        <p:cNvPr id="1" name=""/>
        <p:cNvGrpSpPr/>
        <p:nvPr/>
      </p:nvGrpSpPr>
      <p:grpSpPr>
        <a:xfrm>
          <a:off x="0" y="0"/>
          <a:ext cx="0" cy="0"/>
          <a:chOff x="0" y="0"/>
          <a:chExt cx="0" cy="0"/>
        </a:xfrm>
      </p:grpSpPr>
      <p:sp>
        <p:nvSpPr>
          <p:cNvPr id="40" name="Picture Placeholder 2"/>
          <p:cNvSpPr>
            <a:spLocks noGrp="1"/>
          </p:cNvSpPr>
          <p:nvPr>
            <p:ph type="pic" sz="quarter" idx="17" hasCustomPrompt="1"/>
          </p:nvPr>
        </p:nvSpPr>
        <p:spPr>
          <a:xfrm>
            <a:off x="0" y="0"/>
            <a:ext cx="4589463" cy="6858000"/>
          </a:xfrm>
          <a:prstGeom prst="rect">
            <a:avLst/>
          </a:prstGeom>
          <a:ln>
            <a:noFill/>
          </a:ln>
        </p:spPr>
        <p:txBody>
          <a:bodyPr lIns="1554480" tIns="2743200"/>
          <a:lstStyle>
            <a:lvl1pPr marL="0" indent="0">
              <a:spcBef>
                <a:spcPts val="3200"/>
              </a:spcBef>
              <a:buNone/>
              <a:defRPr sz="1800" b="1" spc="300"/>
            </a:lvl1pPr>
          </a:lstStyle>
          <a:p>
            <a:r>
              <a:rPr lang="en-US"/>
              <a:t>PICTURE</a:t>
            </a:r>
          </a:p>
        </p:txBody>
      </p:sp>
      <p:sp>
        <p:nvSpPr>
          <p:cNvPr id="41" name="Text Placeholder 4"/>
          <p:cNvSpPr>
            <a:spLocks noGrp="1"/>
          </p:cNvSpPr>
          <p:nvPr>
            <p:ph type="body" sz="quarter" idx="18" hasCustomPrompt="1"/>
          </p:nvPr>
        </p:nvSpPr>
        <p:spPr>
          <a:xfrm>
            <a:off x="5402264" y="1264981"/>
            <a:ext cx="5400416" cy="439737"/>
          </a:xfrm>
          <a:prstGeom prst="rect">
            <a:avLst/>
          </a:prstGeom>
        </p:spPr>
        <p:txBody>
          <a:bodyPr anchor="b" anchorCtr="0"/>
          <a:lstStyle>
            <a:lvl1pPr marL="0" indent="0">
              <a:lnSpc>
                <a:spcPct val="90000"/>
              </a:lnSpc>
              <a:spcBef>
                <a:spcPts val="0"/>
              </a:spcBef>
              <a:buNone/>
              <a:defRPr sz="2800">
                <a:latin typeface="+mj-lt"/>
              </a:defRPr>
            </a:lvl1pPr>
          </a:lstStyle>
          <a:p>
            <a:pPr lvl="0"/>
            <a:r>
              <a:rPr lang="en-US"/>
              <a:t>2-5 Word Tagline</a:t>
            </a:r>
          </a:p>
        </p:txBody>
      </p:sp>
      <p:sp>
        <p:nvSpPr>
          <p:cNvPr id="88" name="Text Placeholder 116"/>
          <p:cNvSpPr>
            <a:spLocks noGrp="1"/>
          </p:cNvSpPr>
          <p:nvPr>
            <p:ph type="body" sz="quarter" idx="25" hasCustomPrompt="1"/>
          </p:nvPr>
        </p:nvSpPr>
        <p:spPr>
          <a:xfrm>
            <a:off x="5402263" y="3498179"/>
            <a:ext cx="3462337" cy="219678"/>
          </a:xfrm>
          <a:prstGeom prst="rect">
            <a:avLst/>
          </a:prstGeom>
        </p:spPr>
        <p:txBody>
          <a:bodyPr/>
          <a:lstStyle>
            <a:lvl1pPr marL="0" indent="0">
              <a:buNone/>
              <a:defRPr sz="1000" b="1" spc="0"/>
            </a:lvl1pPr>
          </a:lstStyle>
          <a:p>
            <a:r>
              <a:rPr lang="en-US"/>
              <a:t>Solution</a:t>
            </a:r>
          </a:p>
        </p:txBody>
      </p:sp>
      <p:sp>
        <p:nvSpPr>
          <p:cNvPr id="89" name="Text Placeholder 117"/>
          <p:cNvSpPr>
            <a:spLocks noGrp="1"/>
          </p:cNvSpPr>
          <p:nvPr>
            <p:ph type="body" sz="quarter" idx="26" hasCustomPrompt="1"/>
          </p:nvPr>
        </p:nvSpPr>
        <p:spPr>
          <a:xfrm>
            <a:off x="5400674" y="4952456"/>
            <a:ext cx="3463925" cy="208097"/>
          </a:xfrm>
          <a:prstGeom prst="rect">
            <a:avLst/>
          </a:prstGeom>
        </p:spPr>
        <p:txBody>
          <a:bodyPr/>
          <a:lstStyle>
            <a:lvl1pPr marL="0" indent="0">
              <a:buNone/>
              <a:defRPr sz="1000" b="1" spc="0"/>
            </a:lvl1pPr>
          </a:lstStyle>
          <a:p>
            <a:r>
              <a:rPr lang="en-US"/>
              <a:t>Impact</a:t>
            </a:r>
          </a:p>
        </p:txBody>
      </p:sp>
      <p:sp>
        <p:nvSpPr>
          <p:cNvPr id="90" name="Text Placeholder 121"/>
          <p:cNvSpPr>
            <a:spLocks noGrp="1"/>
          </p:cNvSpPr>
          <p:nvPr>
            <p:ph type="body" sz="quarter" idx="31" hasCustomPrompt="1"/>
          </p:nvPr>
        </p:nvSpPr>
        <p:spPr>
          <a:xfrm>
            <a:off x="5400675" y="2051475"/>
            <a:ext cx="3463925" cy="228600"/>
          </a:xfrm>
          <a:prstGeom prst="rect">
            <a:avLst/>
          </a:prstGeom>
        </p:spPr>
        <p:txBody>
          <a:bodyPr/>
          <a:lstStyle>
            <a:lvl1pPr marL="0" indent="0">
              <a:buNone/>
              <a:defRPr sz="1000" b="1" spc="0"/>
            </a:lvl1pPr>
          </a:lstStyle>
          <a:p>
            <a:r>
              <a:rPr lang="en-US"/>
              <a:t>Issue</a:t>
            </a:r>
          </a:p>
        </p:txBody>
      </p:sp>
      <p:sp>
        <p:nvSpPr>
          <p:cNvPr id="3" name="Text Placeholder 2"/>
          <p:cNvSpPr>
            <a:spLocks noGrp="1"/>
          </p:cNvSpPr>
          <p:nvPr>
            <p:ph type="body" sz="quarter" idx="39" hasCustomPrompt="1"/>
          </p:nvPr>
        </p:nvSpPr>
        <p:spPr>
          <a:xfrm>
            <a:off x="5400675" y="2280075"/>
            <a:ext cx="5402005" cy="967957"/>
          </a:xfrm>
          <a:prstGeom prst="rect">
            <a:avLst/>
          </a:prstGeom>
        </p:spPr>
        <p:txBody>
          <a:bodyPr wrap="square" bIns="182880">
            <a:spAutoFit/>
          </a:bodyPr>
          <a:lstStyle>
            <a:lvl1pPr marL="0" indent="0">
              <a:lnSpc>
                <a:spcPct val="130000"/>
              </a:lnSpc>
              <a:buNone/>
              <a:defRPr lang="en-US" sz="1000" b="0" i="0" smtClean="0">
                <a:effectLst/>
              </a:defRPr>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b="0" i="0">
                <a:solidFill>
                  <a:srgbClr val="000000"/>
                </a:solidFill>
                <a:effectLst/>
                <a:latin typeface="Open Sans" panose="020B0606030504020204" pitchFamily="34" charset="0"/>
              </a:rPr>
              <a:t>Nam libero tempore, cum </a:t>
            </a:r>
            <a:r>
              <a:rPr lang="en-US" b="0" i="0" err="1">
                <a:solidFill>
                  <a:srgbClr val="000000"/>
                </a:solidFill>
                <a:effectLst/>
                <a:latin typeface="Open Sans" panose="020B0606030504020204" pitchFamily="34" charset="0"/>
              </a:rPr>
              <a:t>soluta</a:t>
            </a:r>
            <a:r>
              <a:rPr lang="en-US" b="0" i="0">
                <a:solidFill>
                  <a:srgbClr val="000000"/>
                </a:solidFill>
                <a:effectLst/>
                <a:latin typeface="Open Sans" panose="020B0606030504020204" pitchFamily="34" charset="0"/>
              </a:rPr>
              <a:t> nobis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ligendi</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ptio</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cumque</a:t>
            </a:r>
            <a:r>
              <a:rPr lang="en-US" b="0" i="0">
                <a:solidFill>
                  <a:srgbClr val="000000"/>
                </a:solidFill>
                <a:effectLst/>
                <a:latin typeface="Open Sans" panose="020B0606030504020204" pitchFamily="34" charset="0"/>
              </a:rPr>
              <a:t> nihil </a:t>
            </a:r>
            <a:r>
              <a:rPr lang="en-US" b="0" i="0" err="1">
                <a:solidFill>
                  <a:srgbClr val="000000"/>
                </a:solidFill>
                <a:effectLst/>
                <a:latin typeface="Open Sans" panose="020B0606030504020204" pitchFamily="34" charset="0"/>
              </a:rPr>
              <a:t>impedit</a:t>
            </a:r>
            <a:r>
              <a:rPr lang="en-US" b="0" i="0">
                <a:solidFill>
                  <a:srgbClr val="000000"/>
                </a:solidFill>
                <a:effectLst/>
                <a:latin typeface="Open Sans" panose="020B0606030504020204" pitchFamily="34" charset="0"/>
              </a:rPr>
              <a:t> quo minus id quod </a:t>
            </a:r>
            <a:r>
              <a:rPr lang="en-US" b="0" i="0" err="1">
                <a:solidFill>
                  <a:srgbClr val="000000"/>
                </a:solidFill>
                <a:effectLst/>
                <a:latin typeface="Open Sans" panose="020B0606030504020204" pitchFamily="34" charset="0"/>
              </a:rPr>
              <a:t>maxim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lacea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facer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ossim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volupta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ssumenda</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dolor </a:t>
            </a:r>
            <a:r>
              <a:rPr lang="en-US" b="0" i="0" err="1">
                <a:solidFill>
                  <a:srgbClr val="000000"/>
                </a:solidFill>
                <a:effectLst/>
                <a:latin typeface="Open Sans" panose="020B0606030504020204" pitchFamily="34" charset="0"/>
              </a:rPr>
              <a:t>repellend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Tempor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em</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quibusdam</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ffici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debit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rerum </a:t>
            </a:r>
            <a:r>
              <a:rPr lang="en-US" b="0" i="0" err="1">
                <a:solidFill>
                  <a:srgbClr val="000000"/>
                </a:solidFill>
                <a:effectLst/>
                <a:latin typeface="Open Sans" panose="020B0606030504020204" pitchFamily="34" charset="0"/>
              </a:rPr>
              <a:t>necessitat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aep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venie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u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voluptate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repudianda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in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molestiae</a:t>
            </a:r>
            <a:r>
              <a:rPr lang="en-US" b="0" i="0">
                <a:solidFill>
                  <a:srgbClr val="000000"/>
                </a:solidFill>
                <a:effectLst/>
                <a:latin typeface="Open Sans" panose="020B0606030504020204" pitchFamily="34" charset="0"/>
              </a:rPr>
              <a:t> non </a:t>
            </a:r>
            <a:r>
              <a:rPr lang="en-US" b="0" i="0" err="1">
                <a:solidFill>
                  <a:srgbClr val="000000"/>
                </a:solidFill>
                <a:effectLst/>
                <a:latin typeface="Open Sans" panose="020B0606030504020204" pitchFamily="34" charset="0"/>
              </a:rPr>
              <a:t>recusandae</a:t>
            </a:r>
            <a:r>
              <a:rPr lang="en-US" b="0" i="0">
                <a:solidFill>
                  <a:srgbClr val="000000"/>
                </a:solidFill>
                <a:effectLst/>
                <a:latin typeface="Open Sans" panose="020B0606030504020204" pitchFamily="34" charset="0"/>
              </a:rPr>
              <a:t>. </a:t>
            </a:r>
            <a:endParaRPr lang="en-US"/>
          </a:p>
        </p:txBody>
      </p:sp>
      <p:sp>
        <p:nvSpPr>
          <p:cNvPr id="15" name="Text Placeholder 2"/>
          <p:cNvSpPr>
            <a:spLocks noGrp="1"/>
          </p:cNvSpPr>
          <p:nvPr>
            <p:ph type="body" sz="quarter" idx="40" hasCustomPrompt="1"/>
          </p:nvPr>
        </p:nvSpPr>
        <p:spPr>
          <a:xfrm>
            <a:off x="5400675" y="3732176"/>
            <a:ext cx="5402005" cy="967957"/>
          </a:xfrm>
          <a:prstGeom prst="rect">
            <a:avLst/>
          </a:prstGeom>
        </p:spPr>
        <p:txBody>
          <a:bodyPr wrap="square" bIns="182880">
            <a:spAutoFit/>
          </a:bodyPr>
          <a:lstStyle>
            <a:lvl1pPr marL="0" indent="0">
              <a:lnSpc>
                <a:spcPct val="130000"/>
              </a:lnSpc>
              <a:buNone/>
              <a:defRPr sz="10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b="0" i="0">
                <a:solidFill>
                  <a:srgbClr val="000000"/>
                </a:solidFill>
                <a:effectLst/>
                <a:latin typeface="Open Sans" panose="020B0606030504020204" pitchFamily="34" charset="0"/>
              </a:rPr>
              <a:t>Nam libero tempore, cum </a:t>
            </a:r>
            <a:r>
              <a:rPr lang="en-US" b="0" i="0" err="1">
                <a:solidFill>
                  <a:srgbClr val="000000"/>
                </a:solidFill>
                <a:effectLst/>
                <a:latin typeface="Open Sans" panose="020B0606030504020204" pitchFamily="34" charset="0"/>
              </a:rPr>
              <a:t>soluta</a:t>
            </a:r>
            <a:r>
              <a:rPr lang="en-US" b="0" i="0">
                <a:solidFill>
                  <a:srgbClr val="000000"/>
                </a:solidFill>
                <a:effectLst/>
                <a:latin typeface="Open Sans" panose="020B0606030504020204" pitchFamily="34" charset="0"/>
              </a:rPr>
              <a:t> nobis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ligendi</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ptio</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cumque</a:t>
            </a:r>
            <a:r>
              <a:rPr lang="en-US" b="0" i="0">
                <a:solidFill>
                  <a:srgbClr val="000000"/>
                </a:solidFill>
                <a:effectLst/>
                <a:latin typeface="Open Sans" panose="020B0606030504020204" pitchFamily="34" charset="0"/>
              </a:rPr>
              <a:t> nihil </a:t>
            </a:r>
            <a:r>
              <a:rPr lang="en-US" b="0" i="0" err="1">
                <a:solidFill>
                  <a:srgbClr val="000000"/>
                </a:solidFill>
                <a:effectLst/>
                <a:latin typeface="Open Sans" panose="020B0606030504020204" pitchFamily="34" charset="0"/>
              </a:rPr>
              <a:t>impedit</a:t>
            </a:r>
            <a:r>
              <a:rPr lang="en-US" b="0" i="0">
                <a:solidFill>
                  <a:srgbClr val="000000"/>
                </a:solidFill>
                <a:effectLst/>
                <a:latin typeface="Open Sans" panose="020B0606030504020204" pitchFamily="34" charset="0"/>
              </a:rPr>
              <a:t> quo minus id quod </a:t>
            </a:r>
            <a:r>
              <a:rPr lang="en-US" b="0" i="0" err="1">
                <a:solidFill>
                  <a:srgbClr val="000000"/>
                </a:solidFill>
                <a:effectLst/>
                <a:latin typeface="Open Sans" panose="020B0606030504020204" pitchFamily="34" charset="0"/>
              </a:rPr>
              <a:t>maxim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lacea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facer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ossim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volupta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ssumenda</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dolor </a:t>
            </a:r>
            <a:r>
              <a:rPr lang="en-US" b="0" i="0" err="1">
                <a:solidFill>
                  <a:srgbClr val="000000"/>
                </a:solidFill>
                <a:effectLst/>
                <a:latin typeface="Open Sans" panose="020B0606030504020204" pitchFamily="34" charset="0"/>
              </a:rPr>
              <a:t>repellend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Tempor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em</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quibusdam</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ffici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debit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rerum </a:t>
            </a:r>
            <a:r>
              <a:rPr lang="en-US" b="0" i="0" err="1">
                <a:solidFill>
                  <a:srgbClr val="000000"/>
                </a:solidFill>
                <a:effectLst/>
                <a:latin typeface="Open Sans" panose="020B0606030504020204" pitchFamily="34" charset="0"/>
              </a:rPr>
              <a:t>necessitat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aep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venie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u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voluptate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repudianda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in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molestiae</a:t>
            </a:r>
            <a:r>
              <a:rPr lang="en-US" b="0" i="0">
                <a:solidFill>
                  <a:srgbClr val="000000"/>
                </a:solidFill>
                <a:effectLst/>
                <a:latin typeface="Open Sans" panose="020B0606030504020204" pitchFamily="34" charset="0"/>
              </a:rPr>
              <a:t> non </a:t>
            </a:r>
            <a:r>
              <a:rPr lang="en-US" b="0" i="0" err="1">
                <a:solidFill>
                  <a:srgbClr val="000000"/>
                </a:solidFill>
                <a:effectLst/>
                <a:latin typeface="Open Sans" panose="020B0606030504020204" pitchFamily="34" charset="0"/>
              </a:rPr>
              <a:t>recusandae</a:t>
            </a:r>
            <a:r>
              <a:rPr lang="en-US" b="0" i="0">
                <a:solidFill>
                  <a:srgbClr val="000000"/>
                </a:solidFill>
                <a:effectLst/>
                <a:latin typeface="Open Sans" panose="020B0606030504020204" pitchFamily="34" charset="0"/>
              </a:rPr>
              <a:t>. </a:t>
            </a:r>
            <a:endParaRPr lang="en-US"/>
          </a:p>
        </p:txBody>
      </p:sp>
      <p:sp>
        <p:nvSpPr>
          <p:cNvPr id="19" name="Text Placeholder 2"/>
          <p:cNvSpPr>
            <a:spLocks noGrp="1"/>
          </p:cNvSpPr>
          <p:nvPr>
            <p:ph type="body" sz="quarter" idx="41" hasCustomPrompt="1"/>
          </p:nvPr>
        </p:nvSpPr>
        <p:spPr>
          <a:xfrm>
            <a:off x="5400675" y="5160553"/>
            <a:ext cx="5402005" cy="967957"/>
          </a:xfrm>
          <a:prstGeom prst="rect">
            <a:avLst/>
          </a:prstGeom>
        </p:spPr>
        <p:txBody>
          <a:bodyPr wrap="square" bIns="182880">
            <a:spAutoFit/>
          </a:bodyPr>
          <a:lstStyle>
            <a:lvl1pPr marL="0" indent="0">
              <a:lnSpc>
                <a:spcPct val="130000"/>
              </a:lnSpc>
              <a:buNone/>
              <a:defRPr sz="10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b="0" i="0">
                <a:solidFill>
                  <a:srgbClr val="000000"/>
                </a:solidFill>
                <a:effectLst/>
                <a:latin typeface="Open Sans" panose="020B0606030504020204" pitchFamily="34" charset="0"/>
              </a:rPr>
              <a:t>Nam libero tempore, cum </a:t>
            </a:r>
            <a:r>
              <a:rPr lang="en-US" b="0" i="0" err="1">
                <a:solidFill>
                  <a:srgbClr val="000000"/>
                </a:solidFill>
                <a:effectLst/>
                <a:latin typeface="Open Sans" panose="020B0606030504020204" pitchFamily="34" charset="0"/>
              </a:rPr>
              <a:t>soluta</a:t>
            </a:r>
            <a:r>
              <a:rPr lang="en-US" b="0" i="0">
                <a:solidFill>
                  <a:srgbClr val="000000"/>
                </a:solidFill>
                <a:effectLst/>
                <a:latin typeface="Open Sans" panose="020B0606030504020204" pitchFamily="34" charset="0"/>
              </a:rPr>
              <a:t> nobis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ligendi</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ptio</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cumque</a:t>
            </a:r>
            <a:r>
              <a:rPr lang="en-US" b="0" i="0">
                <a:solidFill>
                  <a:srgbClr val="000000"/>
                </a:solidFill>
                <a:effectLst/>
                <a:latin typeface="Open Sans" panose="020B0606030504020204" pitchFamily="34" charset="0"/>
              </a:rPr>
              <a:t> nihil </a:t>
            </a:r>
            <a:r>
              <a:rPr lang="en-US" b="0" i="0" err="1">
                <a:solidFill>
                  <a:srgbClr val="000000"/>
                </a:solidFill>
                <a:effectLst/>
                <a:latin typeface="Open Sans" panose="020B0606030504020204" pitchFamily="34" charset="0"/>
              </a:rPr>
              <a:t>impedit</a:t>
            </a:r>
            <a:r>
              <a:rPr lang="en-US" b="0" i="0">
                <a:solidFill>
                  <a:srgbClr val="000000"/>
                </a:solidFill>
                <a:effectLst/>
                <a:latin typeface="Open Sans" panose="020B0606030504020204" pitchFamily="34" charset="0"/>
              </a:rPr>
              <a:t> quo minus id quod </a:t>
            </a:r>
            <a:r>
              <a:rPr lang="en-US" b="0" i="0" err="1">
                <a:solidFill>
                  <a:srgbClr val="000000"/>
                </a:solidFill>
                <a:effectLst/>
                <a:latin typeface="Open Sans" panose="020B0606030504020204" pitchFamily="34" charset="0"/>
              </a:rPr>
              <a:t>maxim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lacea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facer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ossim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volupta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ssumenda</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dolor </a:t>
            </a:r>
            <a:r>
              <a:rPr lang="en-US" b="0" i="0" err="1">
                <a:solidFill>
                  <a:srgbClr val="000000"/>
                </a:solidFill>
                <a:effectLst/>
                <a:latin typeface="Open Sans" panose="020B0606030504020204" pitchFamily="34" charset="0"/>
              </a:rPr>
              <a:t>repellend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Tempor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em</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quibusdam</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ffici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debit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rerum </a:t>
            </a:r>
            <a:r>
              <a:rPr lang="en-US" b="0" i="0" err="1">
                <a:solidFill>
                  <a:srgbClr val="000000"/>
                </a:solidFill>
                <a:effectLst/>
                <a:latin typeface="Open Sans" panose="020B0606030504020204" pitchFamily="34" charset="0"/>
              </a:rPr>
              <a:t>necessitat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aep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venie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u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voluptate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repudianda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in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molestiae</a:t>
            </a:r>
            <a:r>
              <a:rPr lang="en-US" b="0" i="0">
                <a:solidFill>
                  <a:srgbClr val="000000"/>
                </a:solidFill>
                <a:effectLst/>
                <a:latin typeface="Open Sans" panose="020B0606030504020204" pitchFamily="34" charset="0"/>
              </a:rPr>
              <a:t> non </a:t>
            </a:r>
            <a:r>
              <a:rPr lang="en-US" b="0" i="0" err="1">
                <a:solidFill>
                  <a:srgbClr val="000000"/>
                </a:solidFill>
                <a:effectLst/>
                <a:latin typeface="Open Sans" panose="020B0606030504020204" pitchFamily="34" charset="0"/>
              </a:rPr>
              <a:t>recusandae</a:t>
            </a:r>
            <a:r>
              <a:rPr lang="en-US" b="0" i="0">
                <a:solidFill>
                  <a:srgbClr val="000000"/>
                </a:solidFill>
                <a:effectLst/>
                <a:latin typeface="Open Sans" panose="020B0606030504020204" pitchFamily="34" charset="0"/>
              </a:rPr>
              <a:t>. </a:t>
            </a:r>
            <a:endParaRPr lang="en-US"/>
          </a:p>
        </p:txBody>
      </p:sp>
    </p:spTree>
    <p:extLst>
      <p:ext uri="{BB962C8B-B14F-4D97-AF65-F5344CB8AC3E}">
        <p14:creationId xmlns:p14="http://schemas.microsoft.com/office/powerpoint/2010/main" val="11561161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435472A-0A6F-4C72-B8FD-DC675B4D216F}"/>
              </a:ext>
            </a:extLst>
          </p:cNvPr>
          <p:cNvSpPr txBox="1"/>
          <p:nvPr userDrawn="1"/>
        </p:nvSpPr>
        <p:spPr>
          <a:xfrm>
            <a:off x="4278313" y="4580781"/>
            <a:ext cx="7443787" cy="1441420"/>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This publication contains general information only, and none of the member firms of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the rules and regulations of public accounting.</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Copyright © 2019 Deloitte Development LLC. </a:t>
            </a:r>
            <a:br>
              <a:rPr kumimoji="0" lang="en-US" sz="800" b="0" i="0" u="none" strike="noStrike" kern="1200" cap="none" spc="0" normalizeH="0" baseline="0" noProof="0">
                <a:ln>
                  <a:noFill/>
                </a:ln>
                <a:solidFill>
                  <a:schemeClr val="bg1"/>
                </a:solidFill>
                <a:effectLst/>
                <a:uLnTx/>
                <a:uFillTx/>
                <a:latin typeface="+mn-lt"/>
                <a:ea typeface="+mn-ea"/>
                <a:cs typeface="+mn-cs"/>
              </a:rPr>
            </a:br>
            <a:r>
              <a:rPr kumimoji="0" lang="en-US" sz="800" b="0" i="0" u="none" strike="noStrike" kern="1200" cap="none" spc="0" normalizeH="0" baseline="0" noProof="0">
                <a:ln>
                  <a:noFill/>
                </a:ln>
                <a:solidFill>
                  <a:schemeClr val="bg1"/>
                </a:solidFill>
                <a:effectLst/>
                <a:uLnTx/>
                <a:uFillTx/>
                <a:latin typeface="+mn-lt"/>
                <a:ea typeface="+mn-ea"/>
                <a:cs typeface="+mn-cs"/>
              </a:rPr>
              <a:t>All rights reserved. Member of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Limited</a:t>
            </a:r>
          </a:p>
        </p:txBody>
      </p:sp>
      <p:sp>
        <p:nvSpPr>
          <p:cNvPr id="5" name="Text Placeholder 4">
            <a:extLst>
              <a:ext uri="{FF2B5EF4-FFF2-40B4-BE49-F238E27FC236}">
                <a16:creationId xmlns:a16="http://schemas.microsoft.com/office/drawing/2014/main" id="{94812ECC-7C16-4002-BA8A-A367D2A6B62F}"/>
              </a:ext>
            </a:extLst>
          </p:cNvPr>
          <p:cNvSpPr>
            <a:spLocks noGrp="1"/>
          </p:cNvSpPr>
          <p:nvPr>
            <p:ph type="body" sz="quarter" idx="10" hasCustomPrompt="1"/>
          </p:nvPr>
        </p:nvSpPr>
        <p:spPr>
          <a:xfrm>
            <a:off x="4278313" y="1017588"/>
            <a:ext cx="7443787" cy="3150999"/>
          </a:xfrm>
        </p:spPr>
        <p:txBody>
          <a:bodyPr anchor="b"/>
          <a:lstStyle>
            <a:lvl1pPr>
              <a:defRPr sz="5400" spc="-150">
                <a:solidFill>
                  <a:schemeClr val="bg1"/>
                </a:solidFill>
                <a:latin typeface="+mj-lt"/>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osing text here.</a:t>
            </a:r>
          </a:p>
        </p:txBody>
      </p:sp>
      <p:grpSp>
        <p:nvGrpSpPr>
          <p:cNvPr id="20" name="Group 19">
            <a:extLst>
              <a:ext uri="{FF2B5EF4-FFF2-40B4-BE49-F238E27FC236}">
                <a16:creationId xmlns:a16="http://schemas.microsoft.com/office/drawing/2014/main" id="{D088A566-86DC-EF42-85F3-E405DD83D7B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C62E894-F2B0-7F40-B99B-6EE15933367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EC8F78BA-24E4-9E4F-A42A-E6D6C7CC8F1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60D5EC31-80DE-C244-8562-91F6EEF44C2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A5A54AEA-20F7-9A42-B6B7-7C4F0A2EE027}"/>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49EAE557-62A6-7845-BC20-F9CD1365B204}"/>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E3772BB-85A4-D64A-B08B-89D3CEDC868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DCA47903-9870-D544-A2EA-39435FF03AD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D553E05E-9F35-5B4A-8A41-74E263A57B0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666C6C1B-AC80-8749-BC63-60BBA36F781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4E34FCC7-000E-9F4F-A097-FA2189AD8FB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6937718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solidFill>
                  <a:schemeClr val="tx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 name="Group 1">
            <a:extLst>
              <a:ext uri="{FF2B5EF4-FFF2-40B4-BE49-F238E27FC236}">
                <a16:creationId xmlns:a16="http://schemas.microsoft.com/office/drawing/2014/main" id="{68A7555D-9EA2-0842-88A7-4A9429A2B606}"/>
              </a:ext>
            </a:extLst>
          </p:cNvPr>
          <p:cNvGrpSpPr/>
          <p:nvPr userDrawn="1"/>
        </p:nvGrpSpPr>
        <p:grpSpPr>
          <a:xfrm>
            <a:off x="469900" y="457761"/>
            <a:ext cx="1998000" cy="374400"/>
            <a:chOff x="469900" y="457761"/>
            <a:chExt cx="1998000" cy="374400"/>
          </a:xfrm>
        </p:grpSpPr>
        <p:sp>
          <p:nvSpPr>
            <p:cNvPr id="23" name="Oval 5"/>
            <p:cNvSpPr>
              <a:spLocks noChangeArrowheads="1"/>
            </p:cNvSpPr>
            <p:nvPr userDrawn="1"/>
          </p:nvSpPr>
          <p:spPr bwMode="auto">
            <a:xfrm>
              <a:off x="2360691" y="726016"/>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469900" y="459691"/>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7"/>
            <p:cNvSpPr>
              <a:spLocks noChangeArrowheads="1"/>
            </p:cNvSpPr>
            <p:nvPr userDrawn="1"/>
          </p:nvSpPr>
          <p:spPr bwMode="auto">
            <a:xfrm>
              <a:off x="1093666" y="457761"/>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8"/>
            <p:cNvSpPr>
              <a:spLocks noEditPoints="1"/>
            </p:cNvSpPr>
            <p:nvPr userDrawn="1"/>
          </p:nvSpPr>
          <p:spPr bwMode="auto">
            <a:xfrm>
              <a:off x="1222318" y="548466"/>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Rectangle 9"/>
            <p:cNvSpPr>
              <a:spLocks noChangeArrowheads="1"/>
            </p:cNvSpPr>
            <p:nvPr userDrawn="1"/>
          </p:nvSpPr>
          <p:spPr bwMode="auto">
            <a:xfrm>
              <a:off x="1524454" y="552326"/>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Rectangle 10"/>
            <p:cNvSpPr>
              <a:spLocks noChangeArrowheads="1"/>
            </p:cNvSpPr>
            <p:nvPr userDrawn="1"/>
          </p:nvSpPr>
          <p:spPr bwMode="auto">
            <a:xfrm>
              <a:off x="1524454" y="457761"/>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1"/>
            <p:cNvSpPr>
              <a:spLocks/>
            </p:cNvSpPr>
            <p:nvPr userDrawn="1"/>
          </p:nvSpPr>
          <p:spPr bwMode="auto">
            <a:xfrm>
              <a:off x="1653106" y="465481"/>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2"/>
            <p:cNvSpPr>
              <a:spLocks/>
            </p:cNvSpPr>
            <p:nvPr userDrawn="1"/>
          </p:nvSpPr>
          <p:spPr bwMode="auto">
            <a:xfrm>
              <a:off x="1865577" y="465481"/>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p:cNvSpPr>
              <a:spLocks noEditPoints="1"/>
            </p:cNvSpPr>
            <p:nvPr userDrawn="1"/>
          </p:nvSpPr>
          <p:spPr bwMode="auto">
            <a:xfrm>
              <a:off x="2079996" y="548466"/>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Freeform 14"/>
            <p:cNvSpPr>
              <a:spLocks noEditPoints="1"/>
            </p:cNvSpPr>
            <p:nvPr userDrawn="1"/>
          </p:nvSpPr>
          <p:spPr bwMode="auto">
            <a:xfrm>
              <a:off x="801276" y="548466"/>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33" name="Picture Placeholder 8"/>
          <p:cNvSpPr>
            <a:spLocks noGrp="1"/>
          </p:cNvSpPr>
          <p:nvPr userDrawn="1">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5482460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rgbClr val="A0DCFF"/>
        </a:solidFill>
        <a:effectLst/>
      </p:bgPr>
    </p:bg>
    <p:spTree>
      <p:nvGrpSpPr>
        <p:cNvPr id="1" name=""/>
        <p:cNvGrpSpPr/>
        <p:nvPr/>
      </p:nvGrpSpPr>
      <p:grpSpPr>
        <a:xfrm>
          <a:off x="0" y="0"/>
          <a:ext cx="0" cy="0"/>
          <a:chOff x="0" y="0"/>
          <a:chExt cx="0" cy="0"/>
        </a:xfrm>
      </p:grpSpPr>
      <p:sp>
        <p:nvSpPr>
          <p:cNvPr id="3" name="TextBox 2"/>
          <p:cNvSpPr txBox="1"/>
          <p:nvPr userDrawn="1"/>
        </p:nvSpPr>
        <p:spPr>
          <a:xfrm>
            <a:off x="2878634" y="1217629"/>
            <a:ext cx="6434732" cy="4339650"/>
          </a:xfrm>
          <a:prstGeom prst="rect">
            <a:avLst/>
          </a:prstGeom>
          <a:noFill/>
        </p:spPr>
        <p:txBody>
          <a:bodyPr wrap="square" rtlCol="0">
            <a:spAutoFit/>
          </a:bodyPr>
          <a:lstStyle/>
          <a:p>
            <a:pPr algn="ctr"/>
            <a:r>
              <a:rPr lang="en-US" sz="9600" b="0">
                <a:solidFill>
                  <a:schemeClr val="tx1"/>
                </a:solidFill>
                <a:latin typeface="+mj-lt"/>
              </a:rPr>
              <a:t>Do not use this</a:t>
            </a:r>
            <a:r>
              <a:rPr lang="en-US" sz="9600" b="0" baseline="0">
                <a:solidFill>
                  <a:schemeClr val="tx1"/>
                </a:solidFill>
                <a:latin typeface="+mj-lt"/>
              </a:rPr>
              <a:t> layout</a:t>
            </a:r>
          </a:p>
          <a:p>
            <a:pPr algn="ctr"/>
            <a:endParaRPr lang="en-US" sz="2800" b="1" baseline="0">
              <a:solidFill>
                <a:schemeClr val="tx1"/>
              </a:solidFill>
              <a:latin typeface="+mj-lt"/>
            </a:endParaRPr>
          </a:p>
          <a:p>
            <a:pPr algn="ctr"/>
            <a:r>
              <a:rPr lang="en-US" sz="2800" b="0" baseline="0">
                <a:solidFill>
                  <a:schemeClr val="tx1"/>
                </a:solidFill>
                <a:latin typeface="+mn-lt"/>
              </a:rPr>
              <a:t>Delete any master slides that occur after this layout</a:t>
            </a:r>
            <a:endParaRPr lang="en-US" sz="2800" b="0">
              <a:solidFill>
                <a:schemeClr val="tx1"/>
              </a:solidFill>
              <a:latin typeface="+mn-lt"/>
            </a:endParaRPr>
          </a:p>
        </p:txBody>
      </p:sp>
    </p:spTree>
    <p:extLst>
      <p:ext uri="{BB962C8B-B14F-4D97-AF65-F5344CB8AC3E}">
        <p14:creationId xmlns:p14="http://schemas.microsoft.com/office/powerpoint/2010/main" val="30742769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 char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469901" y="860053"/>
            <a:ext cx="11188700" cy="757255"/>
          </a:xfrm>
          <a:prstGeom prst="rect">
            <a:avLst/>
          </a:prstGeom>
        </p:spPr>
        <p:txBody>
          <a:bodyPr/>
          <a:lstStyle>
            <a:lvl1pPr marL="0" indent="0">
              <a:buNone/>
              <a:defRPr lang="en-US" sz="1400" noProof="0" dirty="0"/>
            </a:lvl1pPr>
          </a:lstStyle>
          <a:p>
            <a:pPr marL="228600" lvl="0" indent="-228600"/>
            <a:r>
              <a:rPr lang="en-US" noProof="0"/>
              <a:t>Click to add subtitle</a:t>
            </a:r>
          </a:p>
        </p:txBody>
      </p:sp>
      <p:sp>
        <p:nvSpPr>
          <p:cNvPr id="13" name="Title Placeholder 1"/>
          <p:cNvSpPr>
            <a:spLocks noGrp="1"/>
          </p:cNvSpPr>
          <p:nvPr>
            <p:ph type="title" hasCustomPrompt="1"/>
          </p:nvPr>
        </p:nvSpPr>
        <p:spPr>
          <a:xfrm>
            <a:off x="469901" y="355543"/>
            <a:ext cx="11188700" cy="334101"/>
          </a:xfrm>
          <a:prstGeom prst="rect">
            <a:avLst/>
          </a:prstGeom>
        </p:spPr>
        <p:txBody>
          <a:bodyPr vert="horz" lIns="0" tIns="0" rIns="0" bIns="0" rtlCol="0" anchor="t" anchorCtr="0">
            <a:noAutofit/>
          </a:bodyPr>
          <a:lstStyle>
            <a:lvl1pPr>
              <a:defRPr lang="en-US" sz="2800" noProof="0" dirty="0">
                <a:ea typeface="Open Sans Light" panose="020B0306030504020204" pitchFamily="34" charset="0"/>
                <a:cs typeface="Open Sans Light" panose="020B0306030504020204" pitchFamily="34" charset="0"/>
              </a:defRPr>
            </a:lvl1pPr>
          </a:lstStyle>
          <a:p>
            <a:pPr lvl="0"/>
            <a:r>
              <a:rPr lang="en-US" noProof="0"/>
              <a:t>Click to add title</a:t>
            </a:r>
          </a:p>
        </p:txBody>
      </p:sp>
    </p:spTree>
    <p:extLst>
      <p:ext uri="{BB962C8B-B14F-4D97-AF65-F5344CB8AC3E}">
        <p14:creationId xmlns:p14="http://schemas.microsoft.com/office/powerpoint/2010/main" val="100955671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ubtitle &amp; 2 columns of text">
    <p:spTree>
      <p:nvGrpSpPr>
        <p:cNvPr id="1" name=""/>
        <p:cNvGrpSpPr/>
        <p:nvPr/>
      </p:nvGrpSpPr>
      <p:grpSpPr>
        <a:xfrm>
          <a:off x="0" y="0"/>
          <a:ext cx="0" cy="0"/>
          <a:chOff x="0" y="0"/>
          <a:chExt cx="0" cy="0"/>
        </a:xfrm>
      </p:grpSpPr>
      <p:sp>
        <p:nvSpPr>
          <p:cNvPr id="3" name="Content Placeholder 2"/>
          <p:cNvSpPr>
            <a:spLocks noGrp="1"/>
          </p:cNvSpPr>
          <p:nvPr>
            <p:ph sz="quarter" idx="16"/>
          </p:nvPr>
        </p:nvSpPr>
        <p:spPr>
          <a:xfrm>
            <a:off x="48768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8"/>
          <p:cNvSpPr>
            <a:spLocks noGrp="1"/>
          </p:cNvSpPr>
          <p:nvPr>
            <p:ph type="body" sz="quarter" idx="13" hasCustomPrompt="1"/>
          </p:nvPr>
        </p:nvSpPr>
        <p:spPr>
          <a:xfrm>
            <a:off x="469901" y="860053"/>
            <a:ext cx="11188700" cy="757255"/>
          </a:xfrm>
          <a:prstGeom prst="rect">
            <a:avLst/>
          </a:prstGeom>
        </p:spPr>
        <p:txBody>
          <a:bodyPr/>
          <a:lstStyle>
            <a:lvl1pPr marL="0" indent="0">
              <a:buNone/>
              <a:defRPr lang="en-US" sz="1400" noProof="0" dirty="0"/>
            </a:lvl1pPr>
          </a:lstStyle>
          <a:p>
            <a:pPr marL="228600" lvl="0" indent="-228600"/>
            <a:r>
              <a:rPr lang="en-US" noProof="0"/>
              <a:t>Click to add subtitle</a:t>
            </a:r>
          </a:p>
        </p:txBody>
      </p:sp>
      <p:sp>
        <p:nvSpPr>
          <p:cNvPr id="8" name="Title Placeholder 1"/>
          <p:cNvSpPr>
            <a:spLocks noGrp="1"/>
          </p:cNvSpPr>
          <p:nvPr>
            <p:ph type="title" hasCustomPrompt="1"/>
          </p:nvPr>
        </p:nvSpPr>
        <p:spPr>
          <a:xfrm>
            <a:off x="469901" y="355543"/>
            <a:ext cx="11188700" cy="334101"/>
          </a:xfrm>
          <a:prstGeom prst="rect">
            <a:avLst/>
          </a:prstGeom>
        </p:spPr>
        <p:txBody>
          <a:bodyPr vert="horz" lIns="0" tIns="0" rIns="0" bIns="0" rtlCol="0" anchor="t" anchorCtr="0">
            <a:noAutofit/>
          </a:bodyPr>
          <a:lstStyle>
            <a:lvl1pPr>
              <a:defRPr lang="en-US" sz="2800" noProof="0" dirty="0">
                <a:ea typeface="Open Sans Light" panose="020B0306030504020204" pitchFamily="34" charset="0"/>
                <a:cs typeface="Open Sans Light" panose="020B0306030504020204" pitchFamily="34" charset="0"/>
              </a:defRPr>
            </a:lvl1pPr>
          </a:lstStyle>
          <a:p>
            <a:pPr lvl="0"/>
            <a:r>
              <a:rPr lang="en-US" noProof="0"/>
              <a:t>Click to add title</a:t>
            </a:r>
          </a:p>
        </p:txBody>
      </p:sp>
    </p:spTree>
    <p:extLst>
      <p:ext uri="{BB962C8B-B14F-4D97-AF65-F5344CB8AC3E}">
        <p14:creationId xmlns:p14="http://schemas.microsoft.com/office/powerpoint/2010/main" val="1092522737"/>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469901" y="860053"/>
            <a:ext cx="11188700" cy="757255"/>
          </a:xfrm>
          <a:prstGeom prst="rect">
            <a:avLst/>
          </a:prstGeom>
        </p:spPr>
        <p:txBody>
          <a:bodyPr vert="horz" lIns="0" tIns="0" rIns="0" bIns="0" rtlCol="0">
            <a:noAutofit/>
          </a:bodyPr>
          <a:lstStyle>
            <a:lvl1pPr>
              <a:defRPr lang="en-US" sz="1400" noProof="0" dirty="0"/>
            </a:lvl1pPr>
          </a:lstStyle>
          <a:p>
            <a:pPr marL="0" lvl="0" indent="0">
              <a:spcAft>
                <a:spcPts val="200"/>
              </a:spcAft>
              <a:buNone/>
            </a:pPr>
            <a:r>
              <a:rPr lang="en-US" noProof="0"/>
              <a:t>Click to add subtitle</a:t>
            </a:r>
          </a:p>
        </p:txBody>
      </p:sp>
      <p:sp>
        <p:nvSpPr>
          <p:cNvPr id="8" name="Title Placeholder 1"/>
          <p:cNvSpPr>
            <a:spLocks noGrp="1"/>
          </p:cNvSpPr>
          <p:nvPr>
            <p:ph type="title" hasCustomPrompt="1"/>
          </p:nvPr>
        </p:nvSpPr>
        <p:spPr>
          <a:xfrm>
            <a:off x="469901" y="355543"/>
            <a:ext cx="11188700" cy="334101"/>
          </a:xfrm>
          <a:prstGeom prst="rect">
            <a:avLst/>
          </a:prstGeom>
        </p:spPr>
        <p:txBody>
          <a:bodyPr vert="horz" lIns="0" tIns="0" rIns="0" bIns="0" rtlCol="0" anchor="t" anchorCtr="0">
            <a:noAutofit/>
          </a:bodyPr>
          <a:lstStyle>
            <a:lvl1pPr>
              <a:defRPr lang="en-US" sz="2800" noProof="0" dirty="0">
                <a:ea typeface="Open Sans Light" panose="020B0306030504020204" pitchFamily="34" charset="0"/>
                <a:cs typeface="Open Sans Light" panose="020B0306030504020204" pitchFamily="34" charset="0"/>
              </a:defRPr>
            </a:lvl1pPr>
          </a:lstStyle>
          <a:p>
            <a:pPr lvl="0"/>
            <a:r>
              <a:rPr lang="en-US" noProof="0"/>
              <a:t>Click to add title</a:t>
            </a:r>
          </a:p>
        </p:txBody>
      </p:sp>
    </p:spTree>
    <p:extLst>
      <p:ext uri="{BB962C8B-B14F-4D97-AF65-F5344CB8AC3E}">
        <p14:creationId xmlns:p14="http://schemas.microsoft.com/office/powerpoint/2010/main" val="14390556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9"/>
            <a:ext cx="11252200" cy="757255"/>
          </a:xfrm>
          <a:prstGeom prst="rect">
            <a:avLst/>
          </a:prstGeom>
        </p:spPr>
        <p:txBody>
          <a:bodyPr lIns="0" tIns="0" rIns="0" bIns="0">
            <a:noAutofit/>
          </a:bodyPr>
          <a:lstStyle>
            <a:lvl1pPr marL="0" indent="0">
              <a:buNone/>
              <a:defRPr sz="1739"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1" y="402587"/>
            <a:ext cx="11252200" cy="334102"/>
          </a:xfrm>
          <a:prstGeom prst="rect">
            <a:avLst/>
          </a:prstGeom>
        </p:spPr>
        <p:txBody>
          <a:bodyPr vert="horz" lIns="0" tIns="0" rIns="0" bIns="0" rtlCol="0" anchor="t" anchorCtr="0">
            <a:noAutofit/>
          </a:bodyPr>
          <a:lstStyle>
            <a:lvl1pPr>
              <a:defRPr sz="1739"/>
            </a:lvl1pPr>
          </a:lstStyle>
          <a:p>
            <a:r>
              <a:rPr lang="en-US" noProof="0"/>
              <a:t>Click to edit Master title style</a:t>
            </a:r>
          </a:p>
        </p:txBody>
      </p:sp>
    </p:spTree>
    <p:extLst>
      <p:ext uri="{BB962C8B-B14F-4D97-AF65-F5344CB8AC3E}">
        <p14:creationId xmlns:p14="http://schemas.microsoft.com/office/powerpoint/2010/main" val="13639793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TADATA STANDAR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31"/>
            <a:ext cx="11252200" cy="392111"/>
          </a:xfrm>
        </p:spPr>
        <p:txBody>
          <a:bodyPr vert="horz" lIns="0" tIns="0" rIns="0" bIns="0" rtlCol="0">
            <a:noAutofit/>
          </a:bodyPr>
          <a:lstStyle>
            <a:lvl1pPr marL="0" indent="0">
              <a:buNone/>
              <a:defRPr lang="en-US" sz="1400">
                <a:latin typeface="+mn-lt"/>
              </a:defRPr>
            </a:lvl1pPr>
          </a:lstStyle>
          <a:p>
            <a:pPr marL="228594" lvl="0" indent="-228594">
              <a:lnSpc>
                <a:spcPct val="130000"/>
              </a:lnSpc>
            </a:pPr>
            <a:r>
              <a:rPr lang="en-US"/>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sz="2800"/>
            </a:lvl1pPr>
          </a:lstStyle>
          <a:p>
            <a:r>
              <a:rPr lang="en-US" noProof="0"/>
              <a:t>Click to edit Master title style</a:t>
            </a:r>
          </a:p>
        </p:txBody>
      </p:sp>
    </p:spTree>
    <p:extLst>
      <p:ext uri="{BB962C8B-B14F-4D97-AF65-F5344CB8AC3E}">
        <p14:creationId xmlns:p14="http://schemas.microsoft.com/office/powerpoint/2010/main" val="21773021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sub title/blank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2"/>
          <p:cNvSpPr>
            <a:spLocks noGrp="1"/>
          </p:cNvSpPr>
          <p:nvPr>
            <p:ph type="body" idx="10"/>
          </p:nvPr>
        </p:nvSpPr>
        <p:spPr>
          <a:xfrm>
            <a:off x="609600" y="627928"/>
            <a:ext cx="10972800" cy="639762"/>
          </a:xfrm>
        </p:spPr>
        <p:txBody>
          <a:bodyPr lIns="0" tIns="0" anchor="t"/>
          <a:lstStyle>
            <a:lvl1pPr marL="0" indent="0">
              <a:spcAft>
                <a:spcPts val="200"/>
              </a:spcAft>
              <a:buNone/>
              <a:defRPr sz="14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2159196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539" b="0" i="0">
                <a:solidFill>
                  <a:schemeClr val="tx1"/>
                </a:solidFill>
                <a:latin typeface="Verdana"/>
                <a:cs typeface="Verdana"/>
              </a:defRPr>
            </a:lvl1pPr>
          </a:lstStyle>
          <a:p>
            <a:endParaRPr/>
          </a:p>
        </p:txBody>
      </p:sp>
      <p:sp>
        <p:nvSpPr>
          <p:cNvPr id="3" name="Holder 3"/>
          <p:cNvSpPr>
            <a:spLocks noGrp="1"/>
          </p:cNvSpPr>
          <p:nvPr>
            <p:ph sz="half" idx="2"/>
          </p:nvPr>
        </p:nvSpPr>
        <p:spPr>
          <a:xfrm>
            <a:off x="412760" y="1657601"/>
            <a:ext cx="3991637" cy="146515"/>
          </a:xfrm>
          <a:prstGeom prst="rect">
            <a:avLst/>
          </a:prstGeom>
        </p:spPr>
        <p:txBody>
          <a:bodyPr wrap="square" lIns="0" tIns="0" rIns="0" bIns="0">
            <a:spAutoFit/>
          </a:bodyPr>
          <a:lstStyle>
            <a:lvl1pPr>
              <a:defRPr sz="952" b="0" i="0">
                <a:solidFill>
                  <a:schemeClr val="tx1"/>
                </a:solidFill>
                <a:latin typeface="Verdana"/>
                <a:cs typeface="Verdana"/>
              </a:defRPr>
            </a:lvl1pPr>
          </a:lstStyle>
          <a:p>
            <a:endParaRPr/>
          </a:p>
        </p:txBody>
      </p:sp>
      <p:sp>
        <p:nvSpPr>
          <p:cNvPr id="4" name="Holder 4"/>
          <p:cNvSpPr>
            <a:spLocks noGrp="1"/>
          </p:cNvSpPr>
          <p:nvPr>
            <p:ph sz="half" idx="3"/>
          </p:nvPr>
        </p:nvSpPr>
        <p:spPr>
          <a:xfrm>
            <a:off x="6282341" y="1577340"/>
            <a:ext cx="5306444" cy="307777"/>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635" b="0" i="0">
                <a:solidFill>
                  <a:schemeClr val="tx1"/>
                </a:solidFill>
                <a:latin typeface="Verdana"/>
                <a:cs typeface="Verdana"/>
              </a:defRPr>
            </a:lvl1pPr>
          </a:lstStyle>
          <a:p>
            <a:pPr marL="13434">
              <a:spcBef>
                <a:spcPts val="121"/>
              </a:spcBef>
            </a:pPr>
            <a:r>
              <a:rPr lang="en-US" spc="5"/>
              <a:t>Copyright </a:t>
            </a:r>
            <a:r>
              <a:rPr lang="en-US" spc="11"/>
              <a:t>© </a:t>
            </a:r>
            <a:r>
              <a:rPr lang="en-US"/>
              <a:t>2017 </a:t>
            </a:r>
            <a:r>
              <a:rPr lang="en-US" spc="5"/>
              <a:t>Deloitte Development </a:t>
            </a:r>
            <a:r>
              <a:rPr lang="en-US"/>
              <a:t>LLC. </a:t>
            </a:r>
            <a:r>
              <a:rPr lang="en-US" spc="5"/>
              <a:t>All rights</a:t>
            </a:r>
            <a:r>
              <a:rPr lang="en-US" spc="-95"/>
              <a:t> </a:t>
            </a:r>
            <a:r>
              <a:rPr lang="en-US"/>
              <a:t>reserved.</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6/2023</a:t>
            </a:fld>
            <a:endParaRPr lang="en-US"/>
          </a:p>
        </p:txBody>
      </p:sp>
      <p:sp>
        <p:nvSpPr>
          <p:cNvPr id="7" name="Holder 7"/>
          <p:cNvSpPr>
            <a:spLocks noGrp="1"/>
          </p:cNvSpPr>
          <p:nvPr>
            <p:ph type="sldNum" sz="quarter" idx="7"/>
          </p:nvPr>
        </p:nvSpPr>
        <p:spPr/>
        <p:txBody>
          <a:bodyPr lIns="0" tIns="0" rIns="0" bIns="0"/>
          <a:lstStyle>
            <a:lvl1pPr>
              <a:defRPr sz="635" b="0" i="0">
                <a:solidFill>
                  <a:schemeClr val="tx1"/>
                </a:solidFill>
                <a:latin typeface="Verdana"/>
                <a:cs typeface="Verdana"/>
              </a:defRPr>
            </a:lvl1pPr>
          </a:lstStyle>
          <a:p>
            <a:pPr marL="77918">
              <a:spcBef>
                <a:spcPts val="121"/>
              </a:spcBef>
            </a:pPr>
            <a:fld id="{81D60167-4931-47E6-BA6A-407CBD079E47}" type="slidenum">
              <a:rPr lang="en-US" spc="5" smtClean="0"/>
              <a:pPr marL="77918">
                <a:spcBef>
                  <a:spcPts val="121"/>
                </a:spcBef>
              </a:pPr>
              <a:t>‹#›</a:t>
            </a:fld>
            <a:endParaRPr lang="en-US" spc="5"/>
          </a:p>
        </p:txBody>
      </p:sp>
    </p:spTree>
    <p:extLst>
      <p:ext uri="{BB962C8B-B14F-4D97-AF65-F5344CB8AC3E}">
        <p14:creationId xmlns:p14="http://schemas.microsoft.com/office/powerpoint/2010/main" val="6544127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Subtitle S16">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400" rtl="0" eaLnBrk="1" latinLnBrk="0" hangingPunct="1">
              <a:lnSpc>
                <a:spcPct val="90000"/>
              </a:lnSpc>
              <a:spcBef>
                <a:spcPct val="0"/>
              </a:spcBef>
              <a:buNone/>
              <a:defRPr lang="en-US" sz="6000" kern="1200" cap="all" spc="50" baseline="0" dirty="0">
                <a:solidFill>
                  <a:schemeClr val="accent5">
                    <a:lumMod val="100000"/>
                  </a:schemeClr>
                </a:solidFill>
                <a:latin typeface="+mj-lt"/>
                <a:ea typeface="+mj-ea"/>
                <a:cs typeface="+mj-cs"/>
              </a:defRPr>
            </a:lvl1pPr>
          </a:lstStyle>
          <a:p>
            <a:r>
              <a:rPr lang="en-US"/>
              <a:t>Click to edit Master title style</a:t>
            </a:r>
          </a:p>
        </p:txBody>
      </p:sp>
      <p:sp>
        <p:nvSpPr>
          <p:cNvPr id="4" name="Text Placeholder 8"/>
          <p:cNvSpPr>
            <a:spLocks noGrp="1"/>
          </p:cNvSpPr>
          <p:nvPr>
            <p:ph type="body" sz="quarter" idx="14"/>
          </p:nvPr>
        </p:nvSpPr>
        <p:spPr>
          <a:xfrm>
            <a:off x="511175" y="1279083"/>
            <a:ext cx="11071225" cy="647700"/>
          </a:xfrm>
          <a:prstGeom prst="rect">
            <a:avLst/>
          </a:prstGeom>
        </p:spPr>
        <p:txBody>
          <a:bodyPr>
            <a:no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3834280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6BE6747-68CA-4361-94F3-864DADDD6DD8}"/>
              </a:ext>
            </a:extLst>
          </p:cNvPr>
          <p:cNvSpPr>
            <a:spLocks noGrp="1"/>
          </p:cNvSpPr>
          <p:nvPr>
            <p:ph type="title"/>
          </p:nvPr>
        </p:nvSpPr>
        <p:spPr>
          <a:xfrm>
            <a:off x="501650" y="459843"/>
            <a:ext cx="11220449" cy="556157"/>
          </a:xfrm>
          <a:noFill/>
        </p:spPr>
        <p:txBody>
          <a:bodyPr anchor="b"/>
          <a:lstStyle>
            <a:lvl1pPr>
              <a:defRPr>
                <a:solidFill>
                  <a:schemeClr val="tx1"/>
                </a:solidFill>
              </a:defRPr>
            </a:lvl1pPr>
          </a:lstStyle>
          <a:p>
            <a:r>
              <a:rPr lang="en-US"/>
              <a:t>Click to edit Master title style</a:t>
            </a:r>
          </a:p>
        </p:txBody>
      </p:sp>
      <p:sp>
        <p:nvSpPr>
          <p:cNvPr id="1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0" y="1017588"/>
            <a:ext cx="11220449"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14"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501650" y="321060"/>
            <a:ext cx="11220449"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1938927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19372814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
        <p:nvSpPr>
          <p:cNvPr id="7" name="Slide Number Placeholder 4">
            <a:extLst>
              <a:ext uri="{FF2B5EF4-FFF2-40B4-BE49-F238E27FC236}">
                <a16:creationId xmlns:a16="http://schemas.microsoft.com/office/drawing/2014/main" id="{DF222B06-1A89-465A-ABA1-9C5C33866522}"/>
              </a:ext>
            </a:extLst>
          </p:cNvPr>
          <p:cNvSpPr>
            <a:spLocks noGrp="1"/>
          </p:cNvSpPr>
          <p:nvPr>
            <p:ph type="sldNum" sz="quarter" idx="4"/>
          </p:nvPr>
        </p:nvSpPr>
        <p:spPr>
          <a:xfrm>
            <a:off x="8947150" y="6344450"/>
            <a:ext cx="2743200" cy="365125"/>
          </a:xfrm>
          <a:prstGeom prst="rect">
            <a:avLst/>
          </a:prstGeom>
        </p:spPr>
        <p:txBody>
          <a:bodyPr vert="horz" lIns="91440" tIns="45720" rIns="91440" bIns="45720" rtlCol="0" anchor="ctr"/>
          <a:lstStyle>
            <a:lvl1pPr algn="r">
              <a:defRPr sz="800">
                <a:solidFill>
                  <a:schemeClr val="tx1">
                    <a:tint val="75000"/>
                  </a:schemeClr>
                </a:solidFill>
                <a:latin typeface="+mj-lt"/>
              </a:defRPr>
            </a:lvl1pPr>
          </a:lstStyle>
          <a:p>
            <a:fld id="{2DF1DBB6-4374-44E9-B623-27C9F102744E}" type="slidenum">
              <a:rPr lang="en-US" smtClean="0"/>
              <a:pPr/>
              <a:t>‹#›</a:t>
            </a:fld>
            <a:endParaRPr lang="en-US"/>
          </a:p>
        </p:txBody>
      </p:sp>
    </p:spTree>
    <p:extLst>
      <p:ext uri="{BB962C8B-B14F-4D97-AF65-F5344CB8AC3E}">
        <p14:creationId xmlns:p14="http://schemas.microsoft.com/office/powerpoint/2010/main" val="29389672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7839045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5698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head Black">
    <p:bg>
      <p:bgPr>
        <a:solidFill>
          <a:schemeClr val="tx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734F336-8A58-3045-BBDB-4EFB786C64A3}"/>
              </a:ext>
            </a:extLst>
          </p:cNvPr>
          <p:cNvSpPr txBox="1"/>
          <p:nvPr userDrawn="1"/>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19 Deloitte Development LLC. All rights reserved.  </a:t>
            </a:r>
            <a:r>
              <a:rPr kumimoji="0" lang="en-US" sz="650" b="0" i="0" u="none" strike="noStrike" kern="1200" cap="none" spc="0" normalizeH="0" baseline="0" noProof="0">
                <a:ln>
                  <a:noFill/>
                </a:ln>
                <a:solidFill>
                  <a:schemeClr val="bg1"/>
                </a:solidFill>
                <a:effectLst/>
                <a:uLnTx/>
                <a:uFillTx/>
                <a:latin typeface="+mn-lt"/>
                <a:ea typeface="+mn-ea"/>
                <a:cs typeface="+mn-cs"/>
              </a:rPr>
              <a:t>| </a:t>
            </a:r>
            <a:endParaRPr lang="en-US" sz="650" noProof="0">
              <a:solidFill>
                <a:schemeClr val="bg1"/>
              </a:solidFill>
            </a:endParaRPr>
          </a:p>
        </p:txBody>
      </p:sp>
      <p:sp>
        <p:nvSpPr>
          <p:cNvPr id="9" name="TextBox 8">
            <a:extLst>
              <a:ext uri="{FF2B5EF4-FFF2-40B4-BE49-F238E27FC236}">
                <a16:creationId xmlns:a16="http://schemas.microsoft.com/office/drawing/2014/main" id="{BB580837-1B95-1546-8ADC-A69000EBEE54}"/>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0" name="Text Placeholder 8">
            <a:extLst>
              <a:ext uri="{FF2B5EF4-FFF2-40B4-BE49-F238E27FC236}">
                <a16:creationId xmlns:a16="http://schemas.microsoft.com/office/drawing/2014/main" id="{9F62AF77-09F9-B142-AECB-399BB0864EBC}"/>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solidFill>
                  <a:schemeClr val="bg1"/>
                </a:solidFill>
              </a:defRPr>
            </a:lvl1pPr>
          </a:lstStyle>
          <a:p>
            <a:pPr marL="228600" lvl="0" indent="-228600">
              <a:lnSpc>
                <a:spcPct val="130000"/>
              </a:lnSpc>
            </a:pPr>
            <a:r>
              <a:rPr lang="en-US"/>
              <a:t>Edit Master text styles</a:t>
            </a:r>
          </a:p>
        </p:txBody>
      </p:sp>
      <p:sp>
        <p:nvSpPr>
          <p:cNvPr id="11" name="Title Placeholder 1">
            <a:extLst>
              <a:ext uri="{FF2B5EF4-FFF2-40B4-BE49-F238E27FC236}">
                <a16:creationId xmlns:a16="http://schemas.microsoft.com/office/drawing/2014/main" id="{B3DC9768-1510-D04E-91BD-90B8972E5FFB}"/>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1160183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head, Breadcrumb Black">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84B7CE5-2C43-2E43-B1D6-00E6C3A52DE1}"/>
              </a:ext>
            </a:extLst>
          </p:cNvPr>
          <p:cNvSpPr txBox="1"/>
          <p:nvPr userDrawn="1"/>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19 Deloitte Development LLC. All rights reserved.  </a:t>
            </a:r>
            <a:r>
              <a:rPr kumimoji="0" lang="en-US" sz="650" b="0" i="0" u="none" strike="noStrike" kern="1200" cap="none" spc="0" normalizeH="0" baseline="0" noProof="0">
                <a:ln>
                  <a:noFill/>
                </a:ln>
                <a:solidFill>
                  <a:schemeClr val="bg1"/>
                </a:solidFill>
                <a:effectLst/>
                <a:uLnTx/>
                <a:uFillTx/>
                <a:latin typeface="+mn-lt"/>
                <a:ea typeface="+mn-ea"/>
                <a:cs typeface="+mn-cs"/>
              </a:rPr>
              <a:t>| </a:t>
            </a:r>
            <a:endParaRPr lang="en-US" sz="650" noProof="0">
              <a:solidFill>
                <a:schemeClr val="bg1"/>
              </a:solidFill>
            </a:endParaRPr>
          </a:p>
        </p:txBody>
      </p:sp>
      <p:sp>
        <p:nvSpPr>
          <p:cNvPr id="8" name="TextBox 7">
            <a:extLst>
              <a:ext uri="{FF2B5EF4-FFF2-40B4-BE49-F238E27FC236}">
                <a16:creationId xmlns:a16="http://schemas.microsoft.com/office/drawing/2014/main" id="{26469753-9AFC-4942-AE3D-D45AE76D82B7}"/>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2" name="Text Placeholder 8">
            <a:extLst>
              <a:ext uri="{FF2B5EF4-FFF2-40B4-BE49-F238E27FC236}">
                <a16:creationId xmlns:a16="http://schemas.microsoft.com/office/drawing/2014/main" id="{11438D94-9E78-DB46-8005-9BB6843830D6}"/>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solidFill>
                  <a:schemeClr val="bg1"/>
                </a:solidFill>
              </a:defRPr>
            </a:lvl1pPr>
          </a:lstStyle>
          <a:p>
            <a:pPr marL="228600" lvl="0" indent="-228600">
              <a:lnSpc>
                <a:spcPct val="130000"/>
              </a:lnSpc>
            </a:pPr>
            <a:r>
              <a:rPr lang="en-US"/>
              <a:t>Edit Master text styles</a:t>
            </a:r>
          </a:p>
        </p:txBody>
      </p:sp>
      <p:sp>
        <p:nvSpPr>
          <p:cNvPr id="13" name="Title Placeholder 1">
            <a:extLst>
              <a:ext uri="{FF2B5EF4-FFF2-40B4-BE49-F238E27FC236}">
                <a16:creationId xmlns:a16="http://schemas.microsoft.com/office/drawing/2014/main" id="{B33C2647-05D6-0F44-9218-9A454AE01A2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a:solidFill>
                  <a:schemeClr val="bg1"/>
                </a:solidFill>
              </a:defRPr>
            </a:lvl1pPr>
          </a:lstStyle>
          <a:p>
            <a:r>
              <a:rPr lang="en-US" noProof="0"/>
              <a:t>Click to edit Master title style</a:t>
            </a:r>
          </a:p>
        </p:txBody>
      </p:sp>
      <p:sp>
        <p:nvSpPr>
          <p:cNvPr id="15" name="Text Placeholder 4">
            <a:extLst>
              <a:ext uri="{FF2B5EF4-FFF2-40B4-BE49-F238E27FC236}">
                <a16:creationId xmlns:a16="http://schemas.microsoft.com/office/drawing/2014/main" id="{D9D54F89-B56E-E943-9A3E-84F79DBDDBB0}"/>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96576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305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 Image Title, Subhea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
        <p:nvSpPr>
          <p:cNvPr id="12" name="Text Placeholder 8">
            <a:extLst>
              <a:ext uri="{FF2B5EF4-FFF2-40B4-BE49-F238E27FC236}">
                <a16:creationId xmlns:a16="http://schemas.microsoft.com/office/drawing/2014/main" id="{557E889A-2B4E-6943-9880-42F95E9FDDDA}"/>
              </a:ext>
            </a:extLst>
          </p:cNvPr>
          <p:cNvSpPr>
            <a:spLocks noGrp="1"/>
          </p:cNvSpPr>
          <p:nvPr>
            <p:ph type="body" sz="quarter" idx="14"/>
          </p:nvPr>
        </p:nvSpPr>
        <p:spPr>
          <a:xfrm>
            <a:off x="4798060" y="1020129"/>
            <a:ext cx="692404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13" name="Title Placeholder 1">
            <a:extLst>
              <a:ext uri="{FF2B5EF4-FFF2-40B4-BE49-F238E27FC236}">
                <a16:creationId xmlns:a16="http://schemas.microsoft.com/office/drawing/2014/main" id="{3387087B-BF3A-3A43-B143-F2546DE13F5B}"/>
              </a:ext>
            </a:extLst>
          </p:cNvPr>
          <p:cNvSpPr>
            <a:spLocks noGrp="1"/>
          </p:cNvSpPr>
          <p:nvPr>
            <p:ph type="title"/>
          </p:nvPr>
        </p:nvSpPr>
        <p:spPr bwMode="gray">
          <a:xfrm>
            <a:off x="4798060" y="565723"/>
            <a:ext cx="692404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415255355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2"/>
            </p:custDataLst>
            <p:extLst>
              <p:ext uri="{D42A27DB-BD31-4B8C-83A1-F6EECF244321}">
                <p14:modId xmlns:p14="http://schemas.microsoft.com/office/powerpoint/2010/main" val="142513805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4" name="Object 3" hidden="1"/>
                      <p:cNvPicPr/>
                      <p:nvPr/>
                    </p:nvPicPr>
                    <p:blipFill>
                      <a:blip r:embed="rId3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538798"/>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Box 10"/>
          <p:cNvSpPr txBox="1"/>
          <p:nvPr userDrawn="1"/>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tx1"/>
                </a:solidFill>
              </a:rPr>
              <a:t>Copyright © 2023 Deloitte Development LLC. All rights reserved.  </a:t>
            </a:r>
            <a:r>
              <a:rPr kumimoji="0" lang="en-US" sz="650" b="0" i="0" u="none" strike="noStrike" kern="1200" cap="none" spc="0" normalizeH="0" baseline="0" noProof="0">
                <a:ln>
                  <a:noFill/>
                </a:ln>
                <a:solidFill>
                  <a:prstClr val="black"/>
                </a:solidFill>
                <a:effectLst/>
                <a:uLnTx/>
                <a:uFillTx/>
                <a:latin typeface="+mn-lt"/>
                <a:ea typeface="+mn-ea"/>
                <a:cs typeface="+mn-cs"/>
              </a:rPr>
              <a:t>| </a:t>
            </a:r>
            <a:endParaRPr lang="en-US" sz="650" noProof="0">
              <a:solidFill>
                <a:schemeClr val="tx1"/>
              </a:solidFill>
            </a:endParaRPr>
          </a:p>
        </p:txBody>
      </p:sp>
      <p:sp>
        <p:nvSpPr>
          <p:cNvPr id="12" name="TextBox 1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4856406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90" r:id="rId28"/>
    <p:sldLayoutId id="2147483691" r:id="rId29"/>
    <p:sldLayoutId id="2147483692" r:id="rId30"/>
  </p:sldLayoutIdLst>
  <p:hf hdr="0" dt="0"/>
  <p:txStyles>
    <p:title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20" pos="6299">
          <p15:clr>
            <a:srgbClr val="F26B43"/>
          </p15:clr>
        </p15:guide>
        <p15:guide id="22" orient="horz" pos="6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chart" Target="../charts/chart13.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1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1.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emf"/><Relationship Id="rId1" Type="http://schemas.openxmlformats.org/officeDocument/2006/relationships/slideLayout" Target="../slideLayouts/slideLayout3.xml"/><Relationship Id="rId5" Type="http://schemas.openxmlformats.org/officeDocument/2006/relationships/image" Target="../media/image9.sv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image" Target="../media/image11.emf"/></Relationships>
</file>

<file path=ppt/slides/_rels/slide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4.bin"/><Relationship Id="rId7"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1.emf"/><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descr="A blue glowing circle with dots and lines&#10;&#10;Description automatically generated with medium confidence">
            <a:extLst>
              <a:ext uri="{FF2B5EF4-FFF2-40B4-BE49-F238E27FC236}">
                <a16:creationId xmlns:a16="http://schemas.microsoft.com/office/drawing/2014/main" id="{6E276A23-A8C6-BDFC-E2BC-0CC7D4E2F5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346" y="880360"/>
            <a:ext cx="11305309" cy="4637667"/>
          </a:xfrm>
          <a:prstGeom prst="rect">
            <a:avLst/>
          </a:prstGeom>
        </p:spPr>
      </p:pic>
      <p:sp>
        <p:nvSpPr>
          <p:cNvPr id="28" name="Title 1">
            <a:extLst>
              <a:ext uri="{FF2B5EF4-FFF2-40B4-BE49-F238E27FC236}">
                <a16:creationId xmlns:a16="http://schemas.microsoft.com/office/drawing/2014/main" id="{1DAC2C30-DF50-AACC-140B-32EA0692D39C}"/>
              </a:ext>
            </a:extLst>
          </p:cNvPr>
          <p:cNvSpPr txBox="1">
            <a:spLocks/>
          </p:cNvSpPr>
          <p:nvPr/>
        </p:nvSpPr>
        <p:spPr bwMode="gray">
          <a:xfrm>
            <a:off x="469900" y="5186212"/>
            <a:ext cx="6362699" cy="1264109"/>
          </a:xfrm>
          <a:prstGeom prst="rect">
            <a:avLst/>
          </a:prstGeom>
        </p:spPr>
        <p:txBody>
          <a:bodyPr vert="horz" lIns="0" tIns="0" rIns="0" bIns="0" rtlCol="0" anchor="b" anchorCtr="0">
            <a:noAutofit/>
          </a:bodyPr>
          <a:lstStyle>
            <a:lvl1pPr algn="l" defTabSz="742969" rtl="0" eaLnBrk="1" latinLnBrk="0" hangingPunct="1">
              <a:lnSpc>
                <a:spcPts val="3200"/>
              </a:lnSpc>
              <a:spcBef>
                <a:spcPct val="0"/>
              </a:spcBef>
              <a:buNone/>
              <a:defRPr sz="3200" b="0" kern="120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pPr marL="0" marR="0" lvl="0" indent="0" algn="l" defTabSz="742969" rtl="0" eaLnBrk="1" fontAlgn="auto" latinLnBrk="0" hangingPunct="1">
              <a:lnSpc>
                <a:spcPts val="3200"/>
              </a:lnSpc>
              <a:spcBef>
                <a:spcPct val="0"/>
              </a:spcBef>
              <a:spcAft>
                <a:spcPts val="0"/>
              </a:spcAft>
              <a:buClrTx/>
              <a:buSzTx/>
              <a:buFontTx/>
              <a:buNone/>
              <a:tabLst/>
              <a:defRPr/>
            </a:pPr>
            <a:r>
              <a:rPr kumimoji="0" lang="en-US" sz="3200" b="0" i="0" u="none" strike="noStrike" kern="1200" cap="none" spc="0" normalizeH="0" baseline="0" noProof="0" dirty="0" err="1">
                <a:ln>
                  <a:noFill/>
                </a:ln>
                <a:solidFill>
                  <a:schemeClr val="accent1"/>
                </a:solidFill>
                <a:effectLst/>
                <a:uLnTx/>
                <a:uFillTx/>
                <a:latin typeface="Calibri Light" panose="020F0302020204030204" pitchFamily="34" charset="0"/>
                <a:ea typeface="Open Sans" panose="020B0606030504020204" pitchFamily="34" charset="0"/>
                <a:cs typeface="Calibri Light" panose="020F0302020204030204" pitchFamily="34" charset="0"/>
              </a:rPr>
              <a:t>Hyperscalers</a:t>
            </a:r>
            <a:r>
              <a:rPr kumimoji="0" lang="en-US" sz="3200" b="0" i="0" u="none" strike="noStrike" kern="1200" cap="none" spc="0" normalizeH="0" baseline="0" noProof="0" dirty="0">
                <a:ln>
                  <a:noFill/>
                </a:ln>
                <a:solidFill>
                  <a:schemeClr val="accent1"/>
                </a:solidFill>
                <a:effectLst/>
                <a:uLnTx/>
                <a:uFillTx/>
                <a:latin typeface="Calibri Light" panose="020F0302020204030204" pitchFamily="34" charset="0"/>
                <a:ea typeface="Open Sans" panose="020B0606030504020204" pitchFamily="34" charset="0"/>
                <a:cs typeface="Calibri Light" panose="020F0302020204030204" pitchFamily="34" charset="0"/>
              </a:rPr>
              <a:t> Cloud</a:t>
            </a:r>
          </a:p>
          <a:p>
            <a:pPr marL="0" marR="0" lvl="0" indent="0" algn="l" defTabSz="742969" rtl="0" eaLnBrk="1" fontAlgn="auto" latinLnBrk="0" hangingPunct="1">
              <a:lnSpc>
                <a:spcPts val="32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accent1"/>
                </a:solidFill>
                <a:effectLst/>
                <a:uLnTx/>
                <a:uFillTx/>
                <a:latin typeface="Calibri Light" panose="020F0302020204030204" pitchFamily="34" charset="0"/>
                <a:ea typeface="Open Sans" panose="020B0606030504020204" pitchFamily="34" charset="0"/>
                <a:cs typeface="Calibri Light" panose="020F0302020204030204" pitchFamily="34" charset="0"/>
              </a:rPr>
              <a:t>Monitor in Belgium</a:t>
            </a:r>
          </a:p>
          <a:p>
            <a:pPr marL="0" marR="0" lvl="0" indent="0" algn="l" defTabSz="742969" rtl="0" eaLnBrk="1" fontAlgn="auto" latinLnBrk="0" hangingPunct="1">
              <a:lnSpc>
                <a:spcPts val="3200"/>
              </a:lnSpc>
              <a:spcBef>
                <a:spcPct val="0"/>
              </a:spcBef>
              <a:spcAft>
                <a:spcPts val="0"/>
              </a:spcAft>
              <a:buClrTx/>
              <a:buSzTx/>
              <a:buFontTx/>
              <a:buNone/>
              <a:tabLst/>
              <a:defRPr/>
            </a:pPr>
            <a:r>
              <a:rPr lang="en-US" sz="2000" dirty="0">
                <a:solidFill>
                  <a:schemeClr val="accent1"/>
                </a:solidFill>
              </a:rPr>
              <a:t>November 2023</a:t>
            </a:r>
            <a:endParaRPr kumimoji="0" lang="en-US" sz="2000" b="0" i="0" u="none" strike="noStrike" kern="1200" cap="none" spc="0" normalizeH="0" baseline="0" noProof="0" dirty="0">
              <a:ln>
                <a:noFill/>
              </a:ln>
              <a:solidFill>
                <a:schemeClr val="accent1"/>
              </a:solidFill>
              <a:effectLst/>
              <a:uLnTx/>
              <a:uFillTx/>
              <a:latin typeface="Calibri Light" panose="020F0302020204030204" pitchFamily="34" charset="0"/>
              <a:ea typeface="Open Sans" panose="020B0606030504020204" pitchFamily="34" charset="0"/>
              <a:cs typeface="Calibri Light" panose="020F0302020204030204" pitchFamily="34" charset="0"/>
            </a:endParaRPr>
          </a:p>
        </p:txBody>
      </p:sp>
    </p:spTree>
    <p:extLst>
      <p:ext uri="{BB962C8B-B14F-4D97-AF65-F5344CB8AC3E}">
        <p14:creationId xmlns:p14="http://schemas.microsoft.com/office/powerpoint/2010/main" val="5454637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EF061ED-B64B-A33D-99D2-F73E4BE608D7}"/>
              </a:ext>
            </a:extLst>
          </p:cNvPr>
          <p:cNvGraphicFramePr>
            <a:graphicFrameLocks noChangeAspect="1"/>
          </p:cNvGraphicFramePr>
          <p:nvPr>
            <p:custDataLst>
              <p:tags r:id="rId1"/>
            </p:custDataLst>
            <p:extLst>
              <p:ext uri="{D42A27DB-BD31-4B8C-83A1-F6EECF244321}">
                <p14:modId xmlns:p14="http://schemas.microsoft.com/office/powerpoint/2010/main" val="389991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3D5E0DCD-3C3E-F486-AA79-B64FF478EA02}"/>
              </a:ext>
            </a:extLst>
          </p:cNvPr>
          <p:cNvSpPr txBox="1">
            <a:spLocks/>
          </p:cNvSpPr>
          <p:nvPr/>
        </p:nvSpPr>
        <p:spPr>
          <a:xfrm>
            <a:off x="419693" y="304799"/>
            <a:ext cx="674101" cy="677108"/>
          </a:xfrm>
          <a:prstGeom prst="rect">
            <a:avLst/>
          </a:prstGeom>
          <a:noFill/>
        </p:spPr>
        <p:txBody>
          <a:bodyPr wrap="square" lIns="0" tIns="0" rIns="0" bIns="0" rtlCol="0" anchor="ctr">
            <a:spAutoFit/>
          </a:bodyPr>
          <a:lstStyle/>
          <a:p>
            <a:pPr marL="0" marR="0" lvl="0" indent="0" algn="r" defTabSz="914400" eaLnBrk="1" fontAlgn="auto" latinLnBrk="0" hangingPunct="1">
              <a:lnSpc>
                <a:spcPct val="100000"/>
              </a:lnSpc>
              <a:spcBef>
                <a:spcPts val="488"/>
              </a:spcBef>
              <a:spcAft>
                <a:spcPts val="0"/>
              </a:spcAft>
              <a:buClrTx/>
              <a:buSzPct val="100000"/>
              <a:buFontTx/>
              <a:buNone/>
              <a:tabLst/>
              <a:defRPr/>
            </a:pPr>
            <a:r>
              <a:rPr kumimoji="0" lang="en-US" sz="4400" b="1" i="0" u="none" strike="noStrike" kern="0" cap="none" spc="0" normalizeH="0" baseline="0" noProof="0">
                <a:ln>
                  <a:noFill/>
                </a:ln>
                <a:solidFill>
                  <a:schemeClr val="accent5"/>
                </a:solidFill>
                <a:effectLst/>
                <a:uLnTx/>
                <a:uFillTx/>
              </a:rPr>
              <a:t>05</a:t>
            </a:r>
            <a:endParaRPr kumimoji="0" lang="en-US" sz="4400" b="1" i="0" u="none" strike="noStrike" kern="0" cap="none" spc="0" normalizeH="0" baseline="0" noProof="0" dirty="0">
              <a:ln>
                <a:noFill/>
              </a:ln>
              <a:solidFill>
                <a:schemeClr val="accent5"/>
              </a:solidFill>
              <a:effectLst/>
              <a:uLnTx/>
              <a:uFillTx/>
            </a:endParaRPr>
          </a:p>
        </p:txBody>
      </p:sp>
      <p:sp>
        <p:nvSpPr>
          <p:cNvPr id="9" name="Chord 8">
            <a:extLst>
              <a:ext uri="{FF2B5EF4-FFF2-40B4-BE49-F238E27FC236}">
                <a16:creationId xmlns:a16="http://schemas.microsoft.com/office/drawing/2014/main" id="{C01C9779-CA12-89B0-2BF6-076CB20E46CE}"/>
              </a:ext>
            </a:extLst>
          </p:cNvPr>
          <p:cNvSpPr/>
          <p:nvPr/>
        </p:nvSpPr>
        <p:spPr bwMode="gray">
          <a:xfrm>
            <a:off x="844550" y="639488"/>
            <a:ext cx="376965" cy="362083"/>
          </a:xfrm>
          <a:prstGeom prst="chord">
            <a:avLst>
              <a:gd name="adj1" fmla="val 2700000"/>
              <a:gd name="adj2" fmla="val 18834732"/>
            </a:avLst>
          </a:prstGeom>
          <a:solidFill>
            <a:srgbClr val="0097A9">
              <a:alpha val="3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cxnSp>
        <p:nvCxnSpPr>
          <p:cNvPr id="11" name="Straight Connector 10">
            <a:extLst>
              <a:ext uri="{FF2B5EF4-FFF2-40B4-BE49-F238E27FC236}">
                <a16:creationId xmlns:a16="http://schemas.microsoft.com/office/drawing/2014/main" id="{CAA7F5B9-A7E2-9FA3-4417-16CA8221FD98}"/>
              </a:ext>
            </a:extLst>
          </p:cNvPr>
          <p:cNvCxnSpPr>
            <a:cxnSpLocks/>
          </p:cNvCxnSpPr>
          <p:nvPr/>
        </p:nvCxnSpPr>
        <p:spPr>
          <a:xfrm>
            <a:off x="1155579" y="380566"/>
            <a:ext cx="0" cy="601341"/>
          </a:xfrm>
          <a:prstGeom prst="line">
            <a:avLst/>
          </a:prstGeom>
          <a:ln>
            <a:solidFill>
              <a:schemeClr val="accent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0A8A1C20-E675-8C07-6D76-D85BEF7A356F}"/>
              </a:ext>
            </a:extLst>
          </p:cNvPr>
          <p:cNvSpPr>
            <a:spLocks noGrp="1"/>
          </p:cNvSpPr>
          <p:nvPr>
            <p:ph type="title"/>
          </p:nvPr>
        </p:nvSpPr>
        <p:spPr>
          <a:xfrm>
            <a:off x="1217364" y="565723"/>
            <a:ext cx="10504735" cy="451866"/>
          </a:xfrm>
        </p:spPr>
        <p:txBody>
          <a:bodyPr vert="horz"/>
          <a:lstStyle/>
          <a:p>
            <a:r>
              <a:rPr lang="en-US" dirty="0"/>
              <a:t>Operating model</a:t>
            </a:r>
          </a:p>
        </p:txBody>
      </p:sp>
      <p:graphicFrame>
        <p:nvGraphicFramePr>
          <p:cNvPr id="31" name="Chart 30">
            <a:extLst>
              <a:ext uri="{FF2B5EF4-FFF2-40B4-BE49-F238E27FC236}">
                <a16:creationId xmlns:a16="http://schemas.microsoft.com/office/drawing/2014/main" id="{E70E18F9-EBF0-BE94-A28C-529FB4FEBC01}"/>
              </a:ext>
            </a:extLst>
          </p:cNvPr>
          <p:cNvGraphicFramePr/>
          <p:nvPr>
            <p:extLst>
              <p:ext uri="{D42A27DB-BD31-4B8C-83A1-F6EECF244321}">
                <p14:modId xmlns:p14="http://schemas.microsoft.com/office/powerpoint/2010/main" val="702956159"/>
              </p:ext>
            </p:extLst>
          </p:nvPr>
        </p:nvGraphicFramePr>
        <p:xfrm>
          <a:off x="4322292" y="2431114"/>
          <a:ext cx="3546655" cy="3826071"/>
        </p:xfrm>
        <a:graphic>
          <a:graphicData uri="http://schemas.openxmlformats.org/drawingml/2006/chart">
            <c:chart xmlns:c="http://schemas.openxmlformats.org/drawingml/2006/chart" xmlns:r="http://schemas.openxmlformats.org/officeDocument/2006/relationships" r:id="rId5"/>
          </a:graphicData>
        </a:graphic>
      </p:graphicFrame>
      <p:sp>
        <p:nvSpPr>
          <p:cNvPr id="2" name="Rectangle 1">
            <a:extLst>
              <a:ext uri="{FF2B5EF4-FFF2-40B4-BE49-F238E27FC236}">
                <a16:creationId xmlns:a16="http://schemas.microsoft.com/office/drawing/2014/main" id="{4A1EF867-051D-E098-184A-4010B922F916}"/>
              </a:ext>
            </a:extLst>
          </p:cNvPr>
          <p:cNvSpPr/>
          <p:nvPr/>
        </p:nvSpPr>
        <p:spPr bwMode="gray">
          <a:xfrm>
            <a:off x="0" y="1377827"/>
            <a:ext cx="12192000" cy="593187"/>
          </a:xfrm>
          <a:prstGeom prst="rect">
            <a:avLst/>
          </a:prstGeom>
          <a:solidFill>
            <a:srgbClr val="0097A9"/>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3" name="Rectangle 2">
            <a:extLst>
              <a:ext uri="{FF2B5EF4-FFF2-40B4-BE49-F238E27FC236}">
                <a16:creationId xmlns:a16="http://schemas.microsoft.com/office/drawing/2014/main" id="{E989F197-0809-69CB-70EE-7EA105D79E73}"/>
              </a:ext>
            </a:extLst>
          </p:cNvPr>
          <p:cNvSpPr/>
          <p:nvPr/>
        </p:nvSpPr>
        <p:spPr bwMode="gray">
          <a:xfrm>
            <a:off x="517526" y="1406281"/>
            <a:ext cx="3499025" cy="492443"/>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Cloud center of excellence (</a:t>
            </a:r>
            <a:r>
              <a:rPr lang="en-US" sz="1600" b="1" dirty="0" err="1">
                <a:solidFill>
                  <a:schemeClr val="bg1"/>
                </a:solidFill>
              </a:rPr>
              <a:t>CCoE</a:t>
            </a:r>
            <a:r>
              <a:rPr lang="en-US" sz="1600" b="1" dirty="0">
                <a:solidFill>
                  <a:schemeClr val="bg1"/>
                </a:solidFill>
              </a:rPr>
              <a:t>) established</a:t>
            </a:r>
          </a:p>
        </p:txBody>
      </p:sp>
      <p:sp>
        <p:nvSpPr>
          <p:cNvPr id="4" name="Rectangle 3">
            <a:extLst>
              <a:ext uri="{FF2B5EF4-FFF2-40B4-BE49-F238E27FC236}">
                <a16:creationId xmlns:a16="http://schemas.microsoft.com/office/drawing/2014/main" id="{8A34B981-7927-EF90-E4A4-E381F6367256}"/>
              </a:ext>
            </a:extLst>
          </p:cNvPr>
          <p:cNvSpPr/>
          <p:nvPr/>
        </p:nvSpPr>
        <p:spPr bwMode="gray">
          <a:xfrm>
            <a:off x="8315966" y="1406282"/>
            <a:ext cx="3405372" cy="492443"/>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Level of Cloud platform automation</a:t>
            </a:r>
          </a:p>
        </p:txBody>
      </p:sp>
      <p:cxnSp>
        <p:nvCxnSpPr>
          <p:cNvPr id="5" name="Straight Connector 4">
            <a:extLst>
              <a:ext uri="{FF2B5EF4-FFF2-40B4-BE49-F238E27FC236}">
                <a16:creationId xmlns:a16="http://schemas.microsoft.com/office/drawing/2014/main" id="{9FE5001D-9A54-9F48-B14F-3118BF512E5C}"/>
              </a:ext>
            </a:extLst>
          </p:cNvPr>
          <p:cNvCxnSpPr>
            <a:cxnSpLocks/>
          </p:cNvCxnSpPr>
          <p:nvPr/>
        </p:nvCxnSpPr>
        <p:spPr>
          <a:xfrm>
            <a:off x="389467" y="1484436"/>
            <a:ext cx="0" cy="3466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D413DD6-A7F7-05FB-436F-5D033B1367C7}"/>
              </a:ext>
            </a:extLst>
          </p:cNvPr>
          <p:cNvCxnSpPr>
            <a:cxnSpLocks/>
          </p:cNvCxnSpPr>
          <p:nvPr/>
        </p:nvCxnSpPr>
        <p:spPr>
          <a:xfrm>
            <a:off x="8144968" y="1484436"/>
            <a:ext cx="0" cy="3466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C68D4EA-1058-9E21-B3EB-07857E7901A5}"/>
              </a:ext>
            </a:extLst>
          </p:cNvPr>
          <p:cNvCxnSpPr>
            <a:cxnSpLocks/>
          </p:cNvCxnSpPr>
          <p:nvPr/>
        </p:nvCxnSpPr>
        <p:spPr>
          <a:xfrm>
            <a:off x="4322292" y="1484436"/>
            <a:ext cx="0" cy="3466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98CDBA3-0AED-F3EB-DE8A-48D7C79432A9}"/>
              </a:ext>
            </a:extLst>
          </p:cNvPr>
          <p:cNvSpPr/>
          <p:nvPr/>
        </p:nvSpPr>
        <p:spPr bwMode="gray">
          <a:xfrm>
            <a:off x="4493290" y="1529394"/>
            <a:ext cx="3375657" cy="246221"/>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Number of FTEs In </a:t>
            </a:r>
            <a:r>
              <a:rPr lang="en-US" sz="1600" b="1" dirty="0" err="1">
                <a:solidFill>
                  <a:schemeClr val="bg1"/>
                </a:solidFill>
              </a:rPr>
              <a:t>CCoE</a:t>
            </a:r>
            <a:endParaRPr lang="en-US" sz="1600" b="1" dirty="0">
              <a:solidFill>
                <a:schemeClr val="bg1"/>
              </a:solidFill>
            </a:endParaRPr>
          </a:p>
        </p:txBody>
      </p:sp>
      <p:graphicFrame>
        <p:nvGraphicFramePr>
          <p:cNvPr id="18" name="Chart 17">
            <a:extLst>
              <a:ext uri="{FF2B5EF4-FFF2-40B4-BE49-F238E27FC236}">
                <a16:creationId xmlns:a16="http://schemas.microsoft.com/office/drawing/2014/main" id="{834193A8-206D-B95B-B144-0A9A08B95FB8}"/>
              </a:ext>
            </a:extLst>
          </p:cNvPr>
          <p:cNvGraphicFramePr/>
          <p:nvPr>
            <p:extLst>
              <p:ext uri="{D42A27DB-BD31-4B8C-83A1-F6EECF244321}">
                <p14:modId xmlns:p14="http://schemas.microsoft.com/office/powerpoint/2010/main" val="171224083"/>
              </p:ext>
            </p:extLst>
          </p:nvPr>
        </p:nvGraphicFramePr>
        <p:xfrm>
          <a:off x="469899" y="2156698"/>
          <a:ext cx="3362967" cy="4142502"/>
        </p:xfrm>
        <a:graphic>
          <a:graphicData uri="http://schemas.openxmlformats.org/drawingml/2006/chart">
            <c:chart xmlns:c="http://schemas.openxmlformats.org/drawingml/2006/chart" xmlns:r="http://schemas.openxmlformats.org/officeDocument/2006/relationships" r:id="rId6"/>
          </a:graphicData>
        </a:graphic>
      </p:graphicFrame>
      <p:sp>
        <p:nvSpPr>
          <p:cNvPr id="14" name="Rectangle 13">
            <a:extLst>
              <a:ext uri="{FF2B5EF4-FFF2-40B4-BE49-F238E27FC236}">
                <a16:creationId xmlns:a16="http://schemas.microsoft.com/office/drawing/2014/main" id="{7EED438E-B7C8-D75D-1DFA-6BC7608C713E}"/>
              </a:ext>
            </a:extLst>
          </p:cNvPr>
          <p:cNvSpPr/>
          <p:nvPr/>
        </p:nvSpPr>
        <p:spPr bwMode="gray">
          <a:xfrm>
            <a:off x="1619577" y="5453285"/>
            <a:ext cx="1247302" cy="153888"/>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rtl="0">
              <a:defRPr sz="1800" b="0" i="0" u="none" strike="noStrike" kern="1200" spc="0" baseline="0">
                <a:solidFill>
                  <a:prstClr val="black">
                    <a:lumMod val="65000"/>
                    <a:lumOff val="35000"/>
                  </a:prstClr>
                </a:solidFill>
                <a:latin typeface="+mn-lt"/>
                <a:ea typeface="+mn-ea"/>
                <a:cs typeface="+mn-cs"/>
              </a:defRPr>
            </a:pPr>
            <a:r>
              <a:rPr lang="en-US" sz="1000" dirty="0"/>
              <a:t># respondents</a:t>
            </a:r>
          </a:p>
        </p:txBody>
      </p:sp>
      <p:sp>
        <p:nvSpPr>
          <p:cNvPr id="23" name="Rectangle 22">
            <a:extLst>
              <a:ext uri="{FF2B5EF4-FFF2-40B4-BE49-F238E27FC236}">
                <a16:creationId xmlns:a16="http://schemas.microsoft.com/office/drawing/2014/main" id="{326CB333-B79B-DE2E-4FFB-3563A7B57E04}"/>
              </a:ext>
            </a:extLst>
          </p:cNvPr>
          <p:cNvSpPr/>
          <p:nvPr/>
        </p:nvSpPr>
        <p:spPr bwMode="gray">
          <a:xfrm>
            <a:off x="9416203" y="5453285"/>
            <a:ext cx="1247302" cy="153888"/>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rtl="0">
              <a:defRPr sz="1800" b="0" i="0" u="none" strike="noStrike" kern="1200" spc="0" baseline="0">
                <a:solidFill>
                  <a:prstClr val="black">
                    <a:lumMod val="65000"/>
                    <a:lumOff val="35000"/>
                  </a:prstClr>
                </a:solidFill>
                <a:latin typeface="+mn-lt"/>
                <a:ea typeface="+mn-ea"/>
                <a:cs typeface="+mn-cs"/>
              </a:defRPr>
            </a:pPr>
            <a:r>
              <a:rPr lang="en-US" sz="1000" dirty="0"/>
              <a:t># respondents</a:t>
            </a:r>
          </a:p>
        </p:txBody>
      </p:sp>
      <p:graphicFrame>
        <p:nvGraphicFramePr>
          <p:cNvPr id="24" name="Chart 23">
            <a:extLst>
              <a:ext uri="{FF2B5EF4-FFF2-40B4-BE49-F238E27FC236}">
                <a16:creationId xmlns:a16="http://schemas.microsoft.com/office/drawing/2014/main" id="{F5267173-9F89-06DF-3891-DC7D8B0F05AB}"/>
              </a:ext>
            </a:extLst>
          </p:cNvPr>
          <p:cNvGraphicFramePr/>
          <p:nvPr>
            <p:extLst>
              <p:ext uri="{D42A27DB-BD31-4B8C-83A1-F6EECF244321}">
                <p14:modId xmlns:p14="http://schemas.microsoft.com/office/powerpoint/2010/main" val="3092811032"/>
              </p:ext>
            </p:extLst>
          </p:nvPr>
        </p:nvGraphicFramePr>
        <p:xfrm>
          <a:off x="8144968" y="2156698"/>
          <a:ext cx="3576370" cy="414250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183684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2B92079C-90DD-2A36-DE86-43265D82119E}"/>
              </a:ext>
            </a:extLst>
          </p:cNvPr>
          <p:cNvGraphicFramePr>
            <a:graphicFrameLocks noChangeAspect="1"/>
          </p:cNvGraphicFramePr>
          <p:nvPr>
            <p:custDataLst>
              <p:tags r:id="rId1"/>
            </p:custDataLst>
            <p:extLst>
              <p:ext uri="{D42A27DB-BD31-4B8C-83A1-F6EECF244321}">
                <p14:modId xmlns:p14="http://schemas.microsoft.com/office/powerpoint/2010/main" val="3449857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E4AFF1B-D084-ABFE-9785-F45AA130291A}"/>
              </a:ext>
            </a:extLst>
          </p:cNvPr>
          <p:cNvSpPr>
            <a:spLocks noGrp="1"/>
          </p:cNvSpPr>
          <p:nvPr>
            <p:ph type="title"/>
          </p:nvPr>
        </p:nvSpPr>
        <p:spPr/>
        <p:txBody>
          <a:bodyPr vert="horz"/>
          <a:lstStyle/>
          <a:p>
            <a:r>
              <a:rPr lang="en-US" dirty="0"/>
              <a:t>Cloud operating model archetypes</a:t>
            </a:r>
          </a:p>
        </p:txBody>
      </p:sp>
      <p:sp>
        <p:nvSpPr>
          <p:cNvPr id="6" name="Rectangle 5">
            <a:extLst>
              <a:ext uri="{FF2B5EF4-FFF2-40B4-BE49-F238E27FC236}">
                <a16:creationId xmlns:a16="http://schemas.microsoft.com/office/drawing/2014/main" id="{B1CF9BDA-9D36-FE04-42CB-16B9ABFF78F2}"/>
              </a:ext>
            </a:extLst>
          </p:cNvPr>
          <p:cNvSpPr/>
          <p:nvPr/>
        </p:nvSpPr>
        <p:spPr>
          <a:xfrm>
            <a:off x="440308" y="2339061"/>
            <a:ext cx="2700313" cy="325143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234AB95-F246-425D-66F7-00FA15A0E606}"/>
              </a:ext>
            </a:extLst>
          </p:cNvPr>
          <p:cNvSpPr/>
          <p:nvPr/>
        </p:nvSpPr>
        <p:spPr>
          <a:xfrm>
            <a:off x="3300801" y="2339061"/>
            <a:ext cx="2700313" cy="325143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640D300-C3F2-B49A-4F8F-9B2C3E15821D}"/>
              </a:ext>
            </a:extLst>
          </p:cNvPr>
          <p:cNvSpPr/>
          <p:nvPr/>
        </p:nvSpPr>
        <p:spPr>
          <a:xfrm>
            <a:off x="6161294" y="2339061"/>
            <a:ext cx="2700313" cy="325143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390669B-EBC6-8D2B-D36B-7988FC445B9B}"/>
              </a:ext>
            </a:extLst>
          </p:cNvPr>
          <p:cNvSpPr/>
          <p:nvPr/>
        </p:nvSpPr>
        <p:spPr>
          <a:xfrm>
            <a:off x="9021787" y="2339061"/>
            <a:ext cx="2700313" cy="325143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EA66DEA-66F7-CB3C-BFB2-E646EB826564}"/>
              </a:ext>
            </a:extLst>
          </p:cNvPr>
          <p:cNvSpPr/>
          <p:nvPr/>
        </p:nvSpPr>
        <p:spPr>
          <a:xfrm>
            <a:off x="-11292" y="3191116"/>
            <a:ext cx="12214584" cy="1944564"/>
          </a:xfrm>
          <a:prstGeom prst="rect">
            <a:avLst/>
          </a:prstGeom>
          <a:solidFill>
            <a:schemeClr val="accent5">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1" name="Graphic 4">
            <a:extLst>
              <a:ext uri="{FF2B5EF4-FFF2-40B4-BE49-F238E27FC236}">
                <a16:creationId xmlns:a16="http://schemas.microsoft.com/office/drawing/2014/main" id="{B5C0625F-6F3D-AF21-374D-BB29FD767444}"/>
              </a:ext>
            </a:extLst>
          </p:cNvPr>
          <p:cNvGrpSpPr>
            <a:grpSpLocks noChangeAspect="1"/>
          </p:cNvGrpSpPr>
          <p:nvPr/>
        </p:nvGrpSpPr>
        <p:grpSpPr>
          <a:xfrm>
            <a:off x="593418" y="2467606"/>
            <a:ext cx="517492" cy="517004"/>
            <a:chOff x="5708130" y="3339623"/>
            <a:chExt cx="362313" cy="361971"/>
          </a:xfrm>
          <a:solidFill>
            <a:schemeClr val="accent5"/>
          </a:solidFill>
        </p:grpSpPr>
        <p:sp>
          <p:nvSpPr>
            <p:cNvPr id="72" name="Graphic 4">
              <a:extLst>
                <a:ext uri="{FF2B5EF4-FFF2-40B4-BE49-F238E27FC236}">
                  <a16:creationId xmlns:a16="http://schemas.microsoft.com/office/drawing/2014/main" id="{0A1A3304-0992-DFE6-AEB8-8EC5547B6FCD}"/>
                </a:ext>
              </a:extLst>
            </p:cNvPr>
            <p:cNvSpPr/>
            <p:nvPr/>
          </p:nvSpPr>
          <p:spPr>
            <a:xfrm>
              <a:off x="5708130" y="33396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49530" y="273873"/>
                    <a:pt x="274767"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73" name="Graphic 4">
              <a:extLst>
                <a:ext uri="{FF2B5EF4-FFF2-40B4-BE49-F238E27FC236}">
                  <a16:creationId xmlns:a16="http://schemas.microsoft.com/office/drawing/2014/main" id="{ED02D069-483D-15ED-FF3C-43072CC180DA}"/>
                </a:ext>
              </a:extLst>
            </p:cNvPr>
            <p:cNvSpPr/>
            <p:nvPr/>
          </p:nvSpPr>
          <p:spPr>
            <a:xfrm>
              <a:off x="5793915" y="3425094"/>
              <a:ext cx="191612" cy="191434"/>
            </a:xfrm>
            <a:custGeom>
              <a:avLst/>
              <a:gdLst>
                <a:gd name="connsiteX0" fmla="*/ 183871 w 191612"/>
                <a:gd name="connsiteY0" fmla="*/ 33271 h 191434"/>
                <a:gd name="connsiteX1" fmla="*/ 178119 w 191612"/>
                <a:gd name="connsiteY1" fmla="*/ 35186 h 191434"/>
                <a:gd name="connsiteX2" fmla="*/ 151282 w 191612"/>
                <a:gd name="connsiteY2" fmla="*/ 61999 h 191434"/>
                <a:gd name="connsiteX3" fmla="*/ 139780 w 191612"/>
                <a:gd name="connsiteY3" fmla="*/ 51785 h 191434"/>
                <a:gd name="connsiteX4" fmla="*/ 129556 w 191612"/>
                <a:gd name="connsiteY4" fmla="*/ 40294 h 191434"/>
                <a:gd name="connsiteX5" fmla="*/ 156394 w 191612"/>
                <a:gd name="connsiteY5" fmla="*/ 13481 h 191434"/>
                <a:gd name="connsiteX6" fmla="*/ 158311 w 191612"/>
                <a:gd name="connsiteY6" fmla="*/ 7735 h 191434"/>
                <a:gd name="connsiteX7" fmla="*/ 154477 w 191612"/>
                <a:gd name="connsiteY7" fmla="*/ 3267 h 191434"/>
                <a:gd name="connsiteX8" fmla="*/ 105274 w 191612"/>
                <a:gd name="connsiteY8" fmla="*/ 8374 h 191434"/>
                <a:gd name="connsiteX9" fmla="*/ 94411 w 191612"/>
                <a:gd name="connsiteY9" fmla="*/ 16673 h 191434"/>
                <a:gd name="connsiteX10" fmla="*/ 79715 w 191612"/>
                <a:gd name="connsiteY10" fmla="*/ 72213 h 191434"/>
                <a:gd name="connsiteX11" fmla="*/ 8147 w 191612"/>
                <a:gd name="connsiteY11" fmla="*/ 143714 h 191434"/>
                <a:gd name="connsiteX12" fmla="*/ 8147 w 191612"/>
                <a:gd name="connsiteY12" fmla="*/ 183295 h 191434"/>
                <a:gd name="connsiteX13" fmla="*/ 47765 w 191612"/>
                <a:gd name="connsiteY13" fmla="*/ 183295 h 191434"/>
                <a:gd name="connsiteX14" fmla="*/ 119332 w 191612"/>
                <a:gd name="connsiteY14" fmla="*/ 111794 h 191434"/>
                <a:gd name="connsiteX15" fmla="*/ 183232 w 191612"/>
                <a:gd name="connsiteY15" fmla="*/ 86258 h 191434"/>
                <a:gd name="connsiteX16" fmla="*/ 188344 w 191612"/>
                <a:gd name="connsiteY16" fmla="*/ 37102 h 191434"/>
                <a:gd name="connsiteX17" fmla="*/ 183871 w 191612"/>
                <a:gd name="connsiteY17" fmla="*/ 33271 h 191434"/>
                <a:gd name="connsiteX18" fmla="*/ 173008 w 191612"/>
                <a:gd name="connsiteY18" fmla="*/ 79874 h 191434"/>
                <a:gd name="connsiteX19" fmla="*/ 173008 w 191612"/>
                <a:gd name="connsiteY19" fmla="*/ 79874 h 191434"/>
                <a:gd name="connsiteX20" fmla="*/ 166618 w 191612"/>
                <a:gd name="connsiteY20" fmla="*/ 88173 h 191434"/>
                <a:gd name="connsiteX21" fmla="*/ 119971 w 191612"/>
                <a:gd name="connsiteY21" fmla="*/ 98388 h 191434"/>
                <a:gd name="connsiteX22" fmla="*/ 113581 w 191612"/>
                <a:gd name="connsiteY22" fmla="*/ 99664 h 191434"/>
                <a:gd name="connsiteX23" fmla="*/ 38819 w 191612"/>
                <a:gd name="connsiteY23" fmla="*/ 174357 h 191434"/>
                <a:gd name="connsiteX24" fmla="*/ 17093 w 191612"/>
                <a:gd name="connsiteY24" fmla="*/ 173719 h 191434"/>
                <a:gd name="connsiteX25" fmla="*/ 17093 w 191612"/>
                <a:gd name="connsiteY25" fmla="*/ 152651 h 191434"/>
                <a:gd name="connsiteX26" fmla="*/ 91216 w 191612"/>
                <a:gd name="connsiteY26" fmla="*/ 77959 h 191434"/>
                <a:gd name="connsiteX27" fmla="*/ 92494 w 191612"/>
                <a:gd name="connsiteY27" fmla="*/ 71575 h 191434"/>
                <a:gd name="connsiteX28" fmla="*/ 119971 w 191612"/>
                <a:gd name="connsiteY28" fmla="*/ 14758 h 191434"/>
                <a:gd name="connsiteX29" fmla="*/ 134029 w 191612"/>
                <a:gd name="connsiteY29" fmla="*/ 12204 h 191434"/>
                <a:gd name="connsiteX30" fmla="*/ 138502 w 191612"/>
                <a:gd name="connsiteY30" fmla="*/ 12204 h 191434"/>
                <a:gd name="connsiteX31" fmla="*/ 115498 w 191612"/>
                <a:gd name="connsiteY31" fmla="*/ 35186 h 191434"/>
                <a:gd name="connsiteX32" fmla="*/ 114859 w 191612"/>
                <a:gd name="connsiteY32" fmla="*/ 43486 h 191434"/>
                <a:gd name="connsiteX33" fmla="*/ 129556 w 191612"/>
                <a:gd name="connsiteY33" fmla="*/ 61361 h 191434"/>
                <a:gd name="connsiteX34" fmla="*/ 147448 w 191612"/>
                <a:gd name="connsiteY34" fmla="*/ 76044 h 191434"/>
                <a:gd name="connsiteX35" fmla="*/ 155755 w 191612"/>
                <a:gd name="connsiteY35" fmla="*/ 75405 h 191434"/>
                <a:gd name="connsiteX36" fmla="*/ 178759 w 191612"/>
                <a:gd name="connsiteY36" fmla="*/ 52423 h 191434"/>
                <a:gd name="connsiteX37" fmla="*/ 173008 w 191612"/>
                <a:gd name="connsiteY37" fmla="*/ 79874 h 191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1612" h="191434">
                  <a:moveTo>
                    <a:pt x="183871" y="33271"/>
                  </a:moveTo>
                  <a:cubicBezTo>
                    <a:pt x="181954" y="32633"/>
                    <a:pt x="179397" y="33271"/>
                    <a:pt x="178119" y="35186"/>
                  </a:cubicBezTo>
                  <a:lnTo>
                    <a:pt x="151282" y="61999"/>
                  </a:lnTo>
                  <a:cubicBezTo>
                    <a:pt x="147448" y="58807"/>
                    <a:pt x="142975" y="55615"/>
                    <a:pt x="139780" y="51785"/>
                  </a:cubicBezTo>
                  <a:cubicBezTo>
                    <a:pt x="135946" y="47954"/>
                    <a:pt x="132751" y="44124"/>
                    <a:pt x="129556" y="40294"/>
                  </a:cubicBezTo>
                  <a:lnTo>
                    <a:pt x="156394" y="13481"/>
                  </a:lnTo>
                  <a:cubicBezTo>
                    <a:pt x="157672" y="12204"/>
                    <a:pt x="158311" y="9650"/>
                    <a:pt x="158311" y="7735"/>
                  </a:cubicBezTo>
                  <a:cubicBezTo>
                    <a:pt x="157672" y="5820"/>
                    <a:pt x="156394" y="3905"/>
                    <a:pt x="154477" y="3267"/>
                  </a:cubicBezTo>
                  <a:cubicBezTo>
                    <a:pt x="138502" y="-2479"/>
                    <a:pt x="119971" y="-564"/>
                    <a:pt x="105274" y="8374"/>
                  </a:cubicBezTo>
                  <a:cubicBezTo>
                    <a:pt x="101440" y="10927"/>
                    <a:pt x="97606" y="13481"/>
                    <a:pt x="94411" y="16673"/>
                  </a:cubicBezTo>
                  <a:cubicBezTo>
                    <a:pt x="79715" y="31356"/>
                    <a:pt x="74603" y="52423"/>
                    <a:pt x="79715" y="72213"/>
                  </a:cubicBezTo>
                  <a:lnTo>
                    <a:pt x="8147" y="143714"/>
                  </a:lnTo>
                  <a:cubicBezTo>
                    <a:pt x="-2716" y="154567"/>
                    <a:pt x="-2716" y="172442"/>
                    <a:pt x="8147" y="183295"/>
                  </a:cubicBezTo>
                  <a:cubicBezTo>
                    <a:pt x="19010" y="194147"/>
                    <a:pt x="36902" y="194147"/>
                    <a:pt x="47765" y="183295"/>
                  </a:cubicBezTo>
                  <a:lnTo>
                    <a:pt x="119332" y="111794"/>
                  </a:lnTo>
                  <a:cubicBezTo>
                    <a:pt x="144253" y="118816"/>
                    <a:pt x="169813" y="107964"/>
                    <a:pt x="183232" y="86258"/>
                  </a:cubicBezTo>
                  <a:cubicBezTo>
                    <a:pt x="192177" y="71575"/>
                    <a:pt x="194094" y="53700"/>
                    <a:pt x="188344" y="37102"/>
                  </a:cubicBezTo>
                  <a:cubicBezTo>
                    <a:pt x="187704" y="35186"/>
                    <a:pt x="185787" y="33910"/>
                    <a:pt x="183871" y="33271"/>
                  </a:cubicBezTo>
                  <a:close/>
                  <a:moveTo>
                    <a:pt x="173008" y="79874"/>
                  </a:moveTo>
                  <a:lnTo>
                    <a:pt x="173008" y="79874"/>
                  </a:lnTo>
                  <a:cubicBezTo>
                    <a:pt x="171091" y="83066"/>
                    <a:pt x="169174" y="85620"/>
                    <a:pt x="166618" y="88173"/>
                  </a:cubicBezTo>
                  <a:cubicBezTo>
                    <a:pt x="154477" y="100303"/>
                    <a:pt x="136585" y="104133"/>
                    <a:pt x="119971" y="98388"/>
                  </a:cubicBezTo>
                  <a:cubicBezTo>
                    <a:pt x="117415" y="97749"/>
                    <a:pt x="115498" y="98388"/>
                    <a:pt x="113581" y="99664"/>
                  </a:cubicBezTo>
                  <a:lnTo>
                    <a:pt x="38819" y="174357"/>
                  </a:lnTo>
                  <a:cubicBezTo>
                    <a:pt x="32429" y="180103"/>
                    <a:pt x="22844" y="180103"/>
                    <a:pt x="17093" y="173719"/>
                  </a:cubicBezTo>
                  <a:cubicBezTo>
                    <a:pt x="11342" y="167973"/>
                    <a:pt x="11342" y="158397"/>
                    <a:pt x="17093" y="152651"/>
                  </a:cubicBezTo>
                  <a:lnTo>
                    <a:pt x="91216" y="77959"/>
                  </a:lnTo>
                  <a:cubicBezTo>
                    <a:pt x="93133" y="76044"/>
                    <a:pt x="93133" y="74129"/>
                    <a:pt x="92494" y="71575"/>
                  </a:cubicBezTo>
                  <a:cubicBezTo>
                    <a:pt x="84188" y="47954"/>
                    <a:pt x="96968" y="23057"/>
                    <a:pt x="119971" y="14758"/>
                  </a:cubicBezTo>
                  <a:cubicBezTo>
                    <a:pt x="124444" y="13481"/>
                    <a:pt x="129556" y="12204"/>
                    <a:pt x="134029" y="12204"/>
                  </a:cubicBezTo>
                  <a:cubicBezTo>
                    <a:pt x="135307" y="12204"/>
                    <a:pt x="137224" y="12204"/>
                    <a:pt x="138502" y="12204"/>
                  </a:cubicBezTo>
                  <a:lnTo>
                    <a:pt x="115498" y="35186"/>
                  </a:lnTo>
                  <a:cubicBezTo>
                    <a:pt x="113581" y="37102"/>
                    <a:pt x="112942" y="40932"/>
                    <a:pt x="114859" y="43486"/>
                  </a:cubicBezTo>
                  <a:cubicBezTo>
                    <a:pt x="119332" y="49870"/>
                    <a:pt x="123805" y="56253"/>
                    <a:pt x="129556" y="61361"/>
                  </a:cubicBezTo>
                  <a:cubicBezTo>
                    <a:pt x="135307" y="67106"/>
                    <a:pt x="141058" y="71575"/>
                    <a:pt x="147448" y="76044"/>
                  </a:cubicBezTo>
                  <a:cubicBezTo>
                    <a:pt x="150004" y="77959"/>
                    <a:pt x="153199" y="77321"/>
                    <a:pt x="155755" y="75405"/>
                  </a:cubicBezTo>
                  <a:lnTo>
                    <a:pt x="178759" y="52423"/>
                  </a:lnTo>
                  <a:cubicBezTo>
                    <a:pt x="180037" y="61999"/>
                    <a:pt x="177481" y="71575"/>
                    <a:pt x="173008" y="79874"/>
                  </a:cubicBezTo>
                  <a:close/>
                </a:path>
              </a:pathLst>
            </a:custGeom>
            <a:grpFill/>
            <a:ln w="6390" cap="flat">
              <a:noFill/>
              <a:prstDash val="solid"/>
              <a:miter/>
            </a:ln>
          </p:spPr>
          <p:txBody>
            <a:bodyPr rtlCol="0" anchor="ctr"/>
            <a:lstStyle/>
            <a:p>
              <a:endParaRPr lang="en-US"/>
            </a:p>
          </p:txBody>
        </p:sp>
      </p:grpSp>
      <p:grpSp>
        <p:nvGrpSpPr>
          <p:cNvPr id="74" name="Graphic 4">
            <a:extLst>
              <a:ext uri="{FF2B5EF4-FFF2-40B4-BE49-F238E27FC236}">
                <a16:creationId xmlns:a16="http://schemas.microsoft.com/office/drawing/2014/main" id="{A4D00151-173A-A34C-661E-510EA8664A03}"/>
              </a:ext>
            </a:extLst>
          </p:cNvPr>
          <p:cNvGrpSpPr/>
          <p:nvPr/>
        </p:nvGrpSpPr>
        <p:grpSpPr>
          <a:xfrm>
            <a:off x="3388901" y="2416515"/>
            <a:ext cx="521208" cy="521208"/>
            <a:chOff x="4660820" y="918179"/>
            <a:chExt cx="362312" cy="361971"/>
          </a:xfrm>
          <a:solidFill>
            <a:schemeClr val="accent5"/>
          </a:solidFill>
        </p:grpSpPr>
        <p:sp>
          <p:nvSpPr>
            <p:cNvPr id="75" name="Graphic 4">
              <a:extLst>
                <a:ext uri="{FF2B5EF4-FFF2-40B4-BE49-F238E27FC236}">
                  <a16:creationId xmlns:a16="http://schemas.microsoft.com/office/drawing/2014/main" id="{C8AB43B9-4579-9B45-AA89-2742A0DE0C6C}"/>
                </a:ext>
              </a:extLst>
            </p:cNvPr>
            <p:cNvSpPr/>
            <p:nvPr/>
          </p:nvSpPr>
          <p:spPr>
            <a:xfrm>
              <a:off x="4660820" y="918179"/>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9204 h 361971"/>
                <a:gd name="connsiteX7" fmla="*/ 12780 w 362312"/>
                <a:gd name="connsiteY7" fmla="*/ 181305 h 361971"/>
                <a:gd name="connsiteX8" fmla="*/ 180835 w 362312"/>
                <a:gd name="connsiteY8" fmla="*/ 12768 h 361971"/>
                <a:gd name="connsiteX9" fmla="*/ 349529 w 362312"/>
                <a:gd name="connsiteY9" fmla="*/ 180667 h 361971"/>
                <a:gd name="connsiteX10" fmla="*/ 349529 w 362312"/>
                <a:gd name="connsiteY10" fmla="*/ 180667 h 361971"/>
                <a:gd name="connsiteX11" fmla="*/ 181474 w 362312"/>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29" y="88099"/>
                    <a:pt x="349529" y="180667"/>
                  </a:cubicBezTo>
                  <a:cubicBezTo>
                    <a:pt x="349529" y="180667"/>
                    <a:pt x="349529" y="180667"/>
                    <a:pt x="349529" y="180667"/>
                  </a:cubicBezTo>
                  <a:cubicBezTo>
                    <a:pt x="349529" y="273873"/>
                    <a:pt x="274767" y="348565"/>
                    <a:pt x="181474" y="349204"/>
                  </a:cubicBezTo>
                  <a:close/>
                </a:path>
              </a:pathLst>
            </a:custGeom>
            <a:grpFill/>
            <a:ln w="6390" cap="flat">
              <a:noFill/>
              <a:prstDash val="solid"/>
              <a:miter/>
            </a:ln>
          </p:spPr>
          <p:txBody>
            <a:bodyPr rtlCol="0" anchor="ctr"/>
            <a:lstStyle/>
            <a:p>
              <a:endParaRPr lang="en-US"/>
            </a:p>
          </p:txBody>
        </p:sp>
        <p:sp>
          <p:nvSpPr>
            <p:cNvPr id="76" name="Graphic 4">
              <a:extLst>
                <a:ext uri="{FF2B5EF4-FFF2-40B4-BE49-F238E27FC236}">
                  <a16:creationId xmlns:a16="http://schemas.microsoft.com/office/drawing/2014/main" id="{86C6FCDC-E127-846A-4F12-D9840B53EFFA}"/>
                </a:ext>
              </a:extLst>
            </p:cNvPr>
            <p:cNvSpPr/>
            <p:nvPr/>
          </p:nvSpPr>
          <p:spPr>
            <a:xfrm>
              <a:off x="4734932" y="990805"/>
              <a:ext cx="216142" cy="217217"/>
            </a:xfrm>
            <a:custGeom>
              <a:avLst/>
              <a:gdLst>
                <a:gd name="connsiteX0" fmla="*/ 151452 w 216142"/>
                <a:gd name="connsiteY0" fmla="*/ 83781 h 217217"/>
                <a:gd name="connsiteX1" fmla="*/ 210879 w 216142"/>
                <a:gd name="connsiteY1" fmla="*/ 63991 h 217217"/>
                <a:gd name="connsiteX2" fmla="*/ 191070 w 216142"/>
                <a:gd name="connsiteY2" fmla="*/ 4620 h 217217"/>
                <a:gd name="connsiteX3" fmla="*/ 131643 w 216142"/>
                <a:gd name="connsiteY3" fmla="*/ 24410 h 217217"/>
                <a:gd name="connsiteX4" fmla="*/ 127171 w 216142"/>
                <a:gd name="connsiteY4" fmla="*/ 44201 h 217217"/>
                <a:gd name="connsiteX5" fmla="*/ 132283 w 216142"/>
                <a:gd name="connsiteY5" fmla="*/ 63991 h 217217"/>
                <a:gd name="connsiteX6" fmla="*/ 108640 w 216142"/>
                <a:gd name="connsiteY6" fmla="*/ 72290 h 217217"/>
                <a:gd name="connsiteX7" fmla="*/ 108640 w 216142"/>
                <a:gd name="connsiteY7" fmla="*/ 72290 h 217217"/>
                <a:gd name="connsiteX8" fmla="*/ 84358 w 216142"/>
                <a:gd name="connsiteY8" fmla="*/ 63353 h 217217"/>
                <a:gd name="connsiteX9" fmla="*/ 88831 w 216142"/>
                <a:gd name="connsiteY9" fmla="*/ 44201 h 217217"/>
                <a:gd name="connsiteX10" fmla="*/ 44740 w 216142"/>
                <a:gd name="connsiteY10" fmla="*/ 151 h 217217"/>
                <a:gd name="connsiteX11" fmla="*/ 650 w 216142"/>
                <a:gd name="connsiteY11" fmla="*/ 44201 h 217217"/>
                <a:gd name="connsiteX12" fmla="*/ 44740 w 216142"/>
                <a:gd name="connsiteY12" fmla="*/ 88250 h 217217"/>
                <a:gd name="connsiteX13" fmla="*/ 44740 w 216142"/>
                <a:gd name="connsiteY13" fmla="*/ 88250 h 217217"/>
                <a:gd name="connsiteX14" fmla="*/ 65188 w 216142"/>
                <a:gd name="connsiteY14" fmla="*/ 83143 h 217217"/>
                <a:gd name="connsiteX15" fmla="*/ 73495 w 216142"/>
                <a:gd name="connsiteY15" fmla="*/ 106764 h 217217"/>
                <a:gd name="connsiteX16" fmla="*/ 63910 w 216142"/>
                <a:gd name="connsiteY16" fmla="*/ 132300 h 217217"/>
                <a:gd name="connsiteX17" fmla="*/ 4484 w 216142"/>
                <a:gd name="connsiteY17" fmla="*/ 153367 h 217217"/>
                <a:gd name="connsiteX18" fmla="*/ 25571 w 216142"/>
                <a:gd name="connsiteY18" fmla="*/ 212738 h 217217"/>
                <a:gd name="connsiteX19" fmla="*/ 84997 w 216142"/>
                <a:gd name="connsiteY19" fmla="*/ 191671 h 217217"/>
                <a:gd name="connsiteX20" fmla="*/ 84358 w 216142"/>
                <a:gd name="connsiteY20" fmla="*/ 152729 h 217217"/>
                <a:gd name="connsiteX21" fmla="*/ 108640 w 216142"/>
                <a:gd name="connsiteY21" fmla="*/ 143791 h 217217"/>
                <a:gd name="connsiteX22" fmla="*/ 108640 w 216142"/>
                <a:gd name="connsiteY22" fmla="*/ 143791 h 217217"/>
                <a:gd name="connsiteX23" fmla="*/ 132283 w 216142"/>
                <a:gd name="connsiteY23" fmla="*/ 152090 h 217217"/>
                <a:gd name="connsiteX24" fmla="*/ 152091 w 216142"/>
                <a:gd name="connsiteY24" fmla="*/ 211461 h 217217"/>
                <a:gd name="connsiteX25" fmla="*/ 211518 w 216142"/>
                <a:gd name="connsiteY25" fmla="*/ 191671 h 217217"/>
                <a:gd name="connsiteX26" fmla="*/ 191709 w 216142"/>
                <a:gd name="connsiteY26" fmla="*/ 132300 h 217217"/>
                <a:gd name="connsiteX27" fmla="*/ 171900 w 216142"/>
                <a:gd name="connsiteY27" fmla="*/ 127831 h 217217"/>
                <a:gd name="connsiteX28" fmla="*/ 152731 w 216142"/>
                <a:gd name="connsiteY28" fmla="*/ 132300 h 217217"/>
                <a:gd name="connsiteX29" fmla="*/ 143784 w 216142"/>
                <a:gd name="connsiteY29" fmla="*/ 106764 h 217217"/>
                <a:gd name="connsiteX30" fmla="*/ 151452 w 216142"/>
                <a:gd name="connsiteY30" fmla="*/ 83781 h 217217"/>
                <a:gd name="connsiteX31" fmla="*/ 139311 w 216142"/>
                <a:gd name="connsiteY31" fmla="*/ 44201 h 217217"/>
                <a:gd name="connsiteX32" fmla="*/ 170622 w 216142"/>
                <a:gd name="connsiteY32" fmla="*/ 11642 h 217217"/>
                <a:gd name="connsiteX33" fmla="*/ 203211 w 216142"/>
                <a:gd name="connsiteY33" fmla="*/ 42924 h 217217"/>
                <a:gd name="connsiteX34" fmla="*/ 171900 w 216142"/>
                <a:gd name="connsiteY34" fmla="*/ 75482 h 217217"/>
                <a:gd name="connsiteX35" fmla="*/ 157842 w 216142"/>
                <a:gd name="connsiteY35" fmla="*/ 72290 h 217217"/>
                <a:gd name="connsiteX36" fmla="*/ 171261 w 216142"/>
                <a:gd name="connsiteY36" fmla="*/ 53777 h 217217"/>
                <a:gd name="connsiteX37" fmla="*/ 177012 w 216142"/>
                <a:gd name="connsiteY37" fmla="*/ 60799 h 217217"/>
                <a:gd name="connsiteX38" fmla="*/ 182124 w 216142"/>
                <a:gd name="connsiteY38" fmla="*/ 63353 h 217217"/>
                <a:gd name="connsiteX39" fmla="*/ 186597 w 216142"/>
                <a:gd name="connsiteY39" fmla="*/ 62076 h 217217"/>
                <a:gd name="connsiteX40" fmla="*/ 187236 w 216142"/>
                <a:gd name="connsiteY40" fmla="*/ 53138 h 217217"/>
                <a:gd name="connsiteX41" fmla="*/ 187236 w 216142"/>
                <a:gd name="connsiteY41" fmla="*/ 53138 h 217217"/>
                <a:gd name="connsiteX42" fmla="*/ 180846 w 216142"/>
                <a:gd name="connsiteY42" fmla="*/ 45478 h 217217"/>
                <a:gd name="connsiteX43" fmla="*/ 188514 w 216142"/>
                <a:gd name="connsiteY43" fmla="*/ 38455 h 217217"/>
                <a:gd name="connsiteX44" fmla="*/ 189153 w 216142"/>
                <a:gd name="connsiteY44" fmla="*/ 29518 h 217217"/>
                <a:gd name="connsiteX45" fmla="*/ 180207 w 216142"/>
                <a:gd name="connsiteY45" fmla="*/ 28879 h 217217"/>
                <a:gd name="connsiteX46" fmla="*/ 172539 w 216142"/>
                <a:gd name="connsiteY46" fmla="*/ 35902 h 217217"/>
                <a:gd name="connsiteX47" fmla="*/ 166149 w 216142"/>
                <a:gd name="connsiteY47" fmla="*/ 28241 h 217217"/>
                <a:gd name="connsiteX48" fmla="*/ 157203 w 216142"/>
                <a:gd name="connsiteY48" fmla="*/ 27602 h 217217"/>
                <a:gd name="connsiteX49" fmla="*/ 156564 w 216142"/>
                <a:gd name="connsiteY49" fmla="*/ 36540 h 217217"/>
                <a:gd name="connsiteX50" fmla="*/ 162954 w 216142"/>
                <a:gd name="connsiteY50" fmla="*/ 44201 h 217217"/>
                <a:gd name="connsiteX51" fmla="*/ 155286 w 216142"/>
                <a:gd name="connsiteY51" fmla="*/ 51223 h 217217"/>
                <a:gd name="connsiteX52" fmla="*/ 155286 w 216142"/>
                <a:gd name="connsiteY52" fmla="*/ 51223 h 217217"/>
                <a:gd name="connsiteX53" fmla="*/ 143784 w 216142"/>
                <a:gd name="connsiteY53" fmla="*/ 58884 h 217217"/>
                <a:gd name="connsiteX54" fmla="*/ 139311 w 216142"/>
                <a:gd name="connsiteY54" fmla="*/ 44201 h 217217"/>
                <a:gd name="connsiteX55" fmla="*/ 139311 w 216142"/>
                <a:gd name="connsiteY55" fmla="*/ 44201 h 217217"/>
                <a:gd name="connsiteX56" fmla="*/ 43462 w 216142"/>
                <a:gd name="connsiteY56" fmla="*/ 75482 h 217217"/>
                <a:gd name="connsiteX57" fmla="*/ 11513 w 216142"/>
                <a:gd name="connsiteY57" fmla="*/ 44201 h 217217"/>
                <a:gd name="connsiteX58" fmla="*/ 42824 w 216142"/>
                <a:gd name="connsiteY58" fmla="*/ 12281 h 217217"/>
                <a:gd name="connsiteX59" fmla="*/ 74773 w 216142"/>
                <a:gd name="connsiteY59" fmla="*/ 43562 h 217217"/>
                <a:gd name="connsiteX60" fmla="*/ 72217 w 216142"/>
                <a:gd name="connsiteY60" fmla="*/ 56330 h 217217"/>
                <a:gd name="connsiteX61" fmla="*/ 53686 w 216142"/>
                <a:gd name="connsiteY61" fmla="*/ 42924 h 217217"/>
                <a:gd name="connsiteX62" fmla="*/ 60076 w 216142"/>
                <a:gd name="connsiteY62" fmla="*/ 37817 h 217217"/>
                <a:gd name="connsiteX63" fmla="*/ 60715 w 216142"/>
                <a:gd name="connsiteY63" fmla="*/ 28879 h 217217"/>
                <a:gd name="connsiteX64" fmla="*/ 51769 w 216142"/>
                <a:gd name="connsiteY64" fmla="*/ 28241 h 217217"/>
                <a:gd name="connsiteX65" fmla="*/ 44102 w 216142"/>
                <a:gd name="connsiteY65" fmla="*/ 35263 h 217217"/>
                <a:gd name="connsiteX66" fmla="*/ 37712 w 216142"/>
                <a:gd name="connsiteY66" fmla="*/ 27602 h 217217"/>
                <a:gd name="connsiteX67" fmla="*/ 28766 w 216142"/>
                <a:gd name="connsiteY67" fmla="*/ 26326 h 217217"/>
                <a:gd name="connsiteX68" fmla="*/ 27488 w 216142"/>
                <a:gd name="connsiteY68" fmla="*/ 35263 h 217217"/>
                <a:gd name="connsiteX69" fmla="*/ 28127 w 216142"/>
                <a:gd name="connsiteY69" fmla="*/ 35902 h 217217"/>
                <a:gd name="connsiteX70" fmla="*/ 34517 w 216142"/>
                <a:gd name="connsiteY70" fmla="*/ 43562 h 217217"/>
                <a:gd name="connsiteX71" fmla="*/ 26849 w 216142"/>
                <a:gd name="connsiteY71" fmla="*/ 50585 h 217217"/>
                <a:gd name="connsiteX72" fmla="*/ 26209 w 216142"/>
                <a:gd name="connsiteY72" fmla="*/ 59522 h 217217"/>
                <a:gd name="connsiteX73" fmla="*/ 35156 w 216142"/>
                <a:gd name="connsiteY73" fmla="*/ 60161 h 217217"/>
                <a:gd name="connsiteX74" fmla="*/ 42824 w 216142"/>
                <a:gd name="connsiteY74" fmla="*/ 53138 h 217217"/>
                <a:gd name="connsiteX75" fmla="*/ 49213 w 216142"/>
                <a:gd name="connsiteY75" fmla="*/ 60799 h 217217"/>
                <a:gd name="connsiteX76" fmla="*/ 49852 w 216142"/>
                <a:gd name="connsiteY76" fmla="*/ 61438 h 217217"/>
                <a:gd name="connsiteX77" fmla="*/ 56881 w 216142"/>
                <a:gd name="connsiteY77" fmla="*/ 72290 h 217217"/>
                <a:gd name="connsiteX78" fmla="*/ 43462 w 216142"/>
                <a:gd name="connsiteY78" fmla="*/ 75482 h 217217"/>
                <a:gd name="connsiteX79" fmla="*/ 43462 w 216142"/>
                <a:gd name="connsiteY79" fmla="*/ 75482 h 217217"/>
                <a:gd name="connsiteX80" fmla="*/ 75412 w 216142"/>
                <a:gd name="connsiteY80" fmla="*/ 171880 h 217217"/>
                <a:gd name="connsiteX81" fmla="*/ 44102 w 216142"/>
                <a:gd name="connsiteY81" fmla="*/ 203162 h 217217"/>
                <a:gd name="connsiteX82" fmla="*/ 12791 w 216142"/>
                <a:gd name="connsiteY82" fmla="*/ 171880 h 217217"/>
                <a:gd name="connsiteX83" fmla="*/ 44102 w 216142"/>
                <a:gd name="connsiteY83" fmla="*/ 140599 h 217217"/>
                <a:gd name="connsiteX84" fmla="*/ 56242 w 216142"/>
                <a:gd name="connsiteY84" fmla="*/ 143153 h 217217"/>
                <a:gd name="connsiteX85" fmla="*/ 43462 w 216142"/>
                <a:gd name="connsiteY85" fmla="*/ 161028 h 217217"/>
                <a:gd name="connsiteX86" fmla="*/ 38350 w 216142"/>
                <a:gd name="connsiteY86" fmla="*/ 155282 h 217217"/>
                <a:gd name="connsiteX87" fmla="*/ 29404 w 216142"/>
                <a:gd name="connsiteY87" fmla="*/ 154005 h 217217"/>
                <a:gd name="connsiteX88" fmla="*/ 28127 w 216142"/>
                <a:gd name="connsiteY88" fmla="*/ 162943 h 217217"/>
                <a:gd name="connsiteX89" fmla="*/ 28766 w 216142"/>
                <a:gd name="connsiteY89" fmla="*/ 163581 h 217217"/>
                <a:gd name="connsiteX90" fmla="*/ 35156 w 216142"/>
                <a:gd name="connsiteY90" fmla="*/ 171242 h 217217"/>
                <a:gd name="connsiteX91" fmla="*/ 27488 w 216142"/>
                <a:gd name="connsiteY91" fmla="*/ 177626 h 217217"/>
                <a:gd name="connsiteX92" fmla="*/ 26849 w 216142"/>
                <a:gd name="connsiteY92" fmla="*/ 186564 h 217217"/>
                <a:gd name="connsiteX93" fmla="*/ 35794 w 216142"/>
                <a:gd name="connsiteY93" fmla="*/ 187202 h 217217"/>
                <a:gd name="connsiteX94" fmla="*/ 43462 w 216142"/>
                <a:gd name="connsiteY94" fmla="*/ 180180 h 217217"/>
                <a:gd name="connsiteX95" fmla="*/ 49852 w 216142"/>
                <a:gd name="connsiteY95" fmla="*/ 187840 h 217217"/>
                <a:gd name="connsiteX96" fmla="*/ 58798 w 216142"/>
                <a:gd name="connsiteY96" fmla="*/ 188479 h 217217"/>
                <a:gd name="connsiteX97" fmla="*/ 59437 w 216142"/>
                <a:gd name="connsiteY97" fmla="*/ 179541 h 217217"/>
                <a:gd name="connsiteX98" fmla="*/ 53047 w 216142"/>
                <a:gd name="connsiteY98" fmla="*/ 171880 h 217217"/>
                <a:gd name="connsiteX99" fmla="*/ 53686 w 216142"/>
                <a:gd name="connsiteY99" fmla="*/ 171242 h 217217"/>
                <a:gd name="connsiteX100" fmla="*/ 72856 w 216142"/>
                <a:gd name="connsiteY100" fmla="*/ 157836 h 217217"/>
                <a:gd name="connsiteX101" fmla="*/ 75412 w 216142"/>
                <a:gd name="connsiteY101" fmla="*/ 171880 h 217217"/>
                <a:gd name="connsiteX102" fmla="*/ 75412 w 216142"/>
                <a:gd name="connsiteY102" fmla="*/ 171880 h 217217"/>
                <a:gd name="connsiteX103" fmla="*/ 171261 w 216142"/>
                <a:gd name="connsiteY103" fmla="*/ 140599 h 217217"/>
                <a:gd name="connsiteX104" fmla="*/ 203850 w 216142"/>
                <a:gd name="connsiteY104" fmla="*/ 171880 h 217217"/>
                <a:gd name="connsiteX105" fmla="*/ 172539 w 216142"/>
                <a:gd name="connsiteY105" fmla="*/ 204439 h 217217"/>
                <a:gd name="connsiteX106" fmla="*/ 139951 w 216142"/>
                <a:gd name="connsiteY106" fmla="*/ 173157 h 217217"/>
                <a:gd name="connsiteX107" fmla="*/ 143146 w 216142"/>
                <a:gd name="connsiteY107" fmla="*/ 159112 h 217217"/>
                <a:gd name="connsiteX108" fmla="*/ 161676 w 216142"/>
                <a:gd name="connsiteY108" fmla="*/ 172519 h 217217"/>
                <a:gd name="connsiteX109" fmla="*/ 155286 w 216142"/>
                <a:gd name="connsiteY109" fmla="*/ 178264 h 217217"/>
                <a:gd name="connsiteX110" fmla="*/ 154647 w 216142"/>
                <a:gd name="connsiteY110" fmla="*/ 187202 h 217217"/>
                <a:gd name="connsiteX111" fmla="*/ 159759 w 216142"/>
                <a:gd name="connsiteY111" fmla="*/ 189756 h 217217"/>
                <a:gd name="connsiteX112" fmla="*/ 164232 w 216142"/>
                <a:gd name="connsiteY112" fmla="*/ 188479 h 217217"/>
                <a:gd name="connsiteX113" fmla="*/ 171900 w 216142"/>
                <a:gd name="connsiteY113" fmla="*/ 181456 h 217217"/>
                <a:gd name="connsiteX114" fmla="*/ 178290 w 216142"/>
                <a:gd name="connsiteY114" fmla="*/ 189117 h 217217"/>
                <a:gd name="connsiteX115" fmla="*/ 187236 w 216142"/>
                <a:gd name="connsiteY115" fmla="*/ 190394 h 217217"/>
                <a:gd name="connsiteX116" fmla="*/ 188514 w 216142"/>
                <a:gd name="connsiteY116" fmla="*/ 181456 h 217217"/>
                <a:gd name="connsiteX117" fmla="*/ 187875 w 216142"/>
                <a:gd name="connsiteY117" fmla="*/ 180818 h 217217"/>
                <a:gd name="connsiteX118" fmla="*/ 181485 w 216142"/>
                <a:gd name="connsiteY118" fmla="*/ 173157 h 217217"/>
                <a:gd name="connsiteX119" fmla="*/ 189153 w 216142"/>
                <a:gd name="connsiteY119" fmla="*/ 166135 h 217217"/>
                <a:gd name="connsiteX120" fmla="*/ 189792 w 216142"/>
                <a:gd name="connsiteY120" fmla="*/ 157197 h 217217"/>
                <a:gd name="connsiteX121" fmla="*/ 180846 w 216142"/>
                <a:gd name="connsiteY121" fmla="*/ 156559 h 217217"/>
                <a:gd name="connsiteX122" fmla="*/ 180846 w 216142"/>
                <a:gd name="connsiteY122" fmla="*/ 156559 h 217217"/>
                <a:gd name="connsiteX123" fmla="*/ 173178 w 216142"/>
                <a:gd name="connsiteY123" fmla="*/ 162943 h 217217"/>
                <a:gd name="connsiteX124" fmla="*/ 159120 w 216142"/>
                <a:gd name="connsiteY124" fmla="*/ 143153 h 217217"/>
                <a:gd name="connsiteX125" fmla="*/ 171261 w 216142"/>
                <a:gd name="connsiteY125" fmla="*/ 140599 h 217217"/>
                <a:gd name="connsiteX126" fmla="*/ 171261 w 216142"/>
                <a:gd name="connsiteY126" fmla="*/ 140599 h 217217"/>
                <a:gd name="connsiteX127" fmla="*/ 139311 w 216142"/>
                <a:gd name="connsiteY127" fmla="*/ 141876 h 217217"/>
                <a:gd name="connsiteX128" fmla="*/ 76690 w 216142"/>
                <a:gd name="connsiteY128" fmla="*/ 141876 h 217217"/>
                <a:gd name="connsiteX129" fmla="*/ 73495 w 216142"/>
                <a:gd name="connsiteY129" fmla="*/ 139322 h 217217"/>
                <a:gd name="connsiteX130" fmla="*/ 84997 w 216142"/>
                <a:gd name="connsiteY130" fmla="*/ 107402 h 217217"/>
                <a:gd name="connsiteX131" fmla="*/ 74773 w 216142"/>
                <a:gd name="connsiteY131" fmla="*/ 76121 h 217217"/>
                <a:gd name="connsiteX132" fmla="*/ 76690 w 216142"/>
                <a:gd name="connsiteY132" fmla="*/ 74205 h 217217"/>
                <a:gd name="connsiteX133" fmla="*/ 108001 w 216142"/>
                <a:gd name="connsiteY133" fmla="*/ 85697 h 217217"/>
                <a:gd name="connsiteX134" fmla="*/ 108001 w 216142"/>
                <a:gd name="connsiteY134" fmla="*/ 85697 h 217217"/>
                <a:gd name="connsiteX135" fmla="*/ 138673 w 216142"/>
                <a:gd name="connsiteY135" fmla="*/ 75482 h 217217"/>
                <a:gd name="connsiteX136" fmla="*/ 139951 w 216142"/>
                <a:gd name="connsiteY136" fmla="*/ 76759 h 217217"/>
                <a:gd name="connsiteX137" fmla="*/ 129088 w 216142"/>
                <a:gd name="connsiteY137" fmla="*/ 107402 h 217217"/>
                <a:gd name="connsiteX138" fmla="*/ 140589 w 216142"/>
                <a:gd name="connsiteY138" fmla="*/ 139961 h 217217"/>
                <a:gd name="connsiteX139" fmla="*/ 139311 w 216142"/>
                <a:gd name="connsiteY139" fmla="*/ 141876 h 21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216142" h="217217">
                  <a:moveTo>
                    <a:pt x="151452" y="83781"/>
                  </a:moveTo>
                  <a:cubicBezTo>
                    <a:pt x="173178" y="94634"/>
                    <a:pt x="200016" y="85697"/>
                    <a:pt x="210879" y="63991"/>
                  </a:cubicBezTo>
                  <a:cubicBezTo>
                    <a:pt x="221742" y="42286"/>
                    <a:pt x="212796" y="15473"/>
                    <a:pt x="191070" y="4620"/>
                  </a:cubicBezTo>
                  <a:cubicBezTo>
                    <a:pt x="169344" y="-6233"/>
                    <a:pt x="142506" y="2705"/>
                    <a:pt x="131643" y="24410"/>
                  </a:cubicBezTo>
                  <a:cubicBezTo>
                    <a:pt x="128448" y="30794"/>
                    <a:pt x="127171" y="37178"/>
                    <a:pt x="127171" y="44201"/>
                  </a:cubicBezTo>
                  <a:cubicBezTo>
                    <a:pt x="127171" y="51223"/>
                    <a:pt x="129088" y="58246"/>
                    <a:pt x="132283" y="63991"/>
                  </a:cubicBezTo>
                  <a:cubicBezTo>
                    <a:pt x="125253" y="68460"/>
                    <a:pt x="116947" y="71014"/>
                    <a:pt x="108640" y="72290"/>
                  </a:cubicBezTo>
                  <a:lnTo>
                    <a:pt x="108640" y="72290"/>
                  </a:lnTo>
                  <a:cubicBezTo>
                    <a:pt x="99694" y="71014"/>
                    <a:pt x="91387" y="67822"/>
                    <a:pt x="84358" y="63353"/>
                  </a:cubicBezTo>
                  <a:cubicBezTo>
                    <a:pt x="87553" y="57607"/>
                    <a:pt x="88831" y="50585"/>
                    <a:pt x="88831" y="44201"/>
                  </a:cubicBezTo>
                  <a:cubicBezTo>
                    <a:pt x="88831" y="19942"/>
                    <a:pt x="69022" y="151"/>
                    <a:pt x="44740" y="151"/>
                  </a:cubicBezTo>
                  <a:cubicBezTo>
                    <a:pt x="20459" y="151"/>
                    <a:pt x="650" y="19942"/>
                    <a:pt x="650" y="44201"/>
                  </a:cubicBezTo>
                  <a:cubicBezTo>
                    <a:pt x="650" y="68460"/>
                    <a:pt x="20459" y="88250"/>
                    <a:pt x="44740" y="88250"/>
                  </a:cubicBezTo>
                  <a:cubicBezTo>
                    <a:pt x="44740" y="88250"/>
                    <a:pt x="44740" y="88250"/>
                    <a:pt x="44740" y="88250"/>
                  </a:cubicBezTo>
                  <a:cubicBezTo>
                    <a:pt x="51769" y="88250"/>
                    <a:pt x="58798" y="86335"/>
                    <a:pt x="65188" y="83143"/>
                  </a:cubicBezTo>
                  <a:cubicBezTo>
                    <a:pt x="69661" y="90165"/>
                    <a:pt x="72217" y="98465"/>
                    <a:pt x="73495" y="106764"/>
                  </a:cubicBezTo>
                  <a:cubicBezTo>
                    <a:pt x="72217" y="115701"/>
                    <a:pt x="69022" y="124639"/>
                    <a:pt x="63910" y="132300"/>
                  </a:cubicBezTo>
                  <a:cubicBezTo>
                    <a:pt x="41545" y="121447"/>
                    <a:pt x="14708" y="131023"/>
                    <a:pt x="4484" y="153367"/>
                  </a:cubicBezTo>
                  <a:cubicBezTo>
                    <a:pt x="-6379" y="175711"/>
                    <a:pt x="3206" y="202524"/>
                    <a:pt x="25571" y="212738"/>
                  </a:cubicBezTo>
                  <a:cubicBezTo>
                    <a:pt x="47935" y="223591"/>
                    <a:pt x="74773" y="214015"/>
                    <a:pt x="84997" y="191671"/>
                  </a:cubicBezTo>
                  <a:cubicBezTo>
                    <a:pt x="90748" y="179541"/>
                    <a:pt x="90748" y="164858"/>
                    <a:pt x="84358" y="152729"/>
                  </a:cubicBezTo>
                  <a:cubicBezTo>
                    <a:pt x="92026" y="148260"/>
                    <a:pt x="100333" y="145068"/>
                    <a:pt x="108640" y="143791"/>
                  </a:cubicBezTo>
                  <a:lnTo>
                    <a:pt x="108640" y="143791"/>
                  </a:lnTo>
                  <a:cubicBezTo>
                    <a:pt x="116947" y="145068"/>
                    <a:pt x="125253" y="147621"/>
                    <a:pt x="132283" y="152090"/>
                  </a:cubicBezTo>
                  <a:cubicBezTo>
                    <a:pt x="121420" y="173796"/>
                    <a:pt x="130366" y="200608"/>
                    <a:pt x="152091" y="211461"/>
                  </a:cubicBezTo>
                  <a:cubicBezTo>
                    <a:pt x="173817" y="222314"/>
                    <a:pt x="200655" y="213376"/>
                    <a:pt x="211518" y="191671"/>
                  </a:cubicBezTo>
                  <a:cubicBezTo>
                    <a:pt x="222381" y="169965"/>
                    <a:pt x="213435" y="143153"/>
                    <a:pt x="191709" y="132300"/>
                  </a:cubicBezTo>
                  <a:cubicBezTo>
                    <a:pt x="185319" y="129108"/>
                    <a:pt x="178929" y="127831"/>
                    <a:pt x="171900" y="127831"/>
                  </a:cubicBezTo>
                  <a:cubicBezTo>
                    <a:pt x="165510" y="127831"/>
                    <a:pt x="158481" y="129108"/>
                    <a:pt x="152731" y="132300"/>
                  </a:cubicBezTo>
                  <a:cubicBezTo>
                    <a:pt x="147618" y="124639"/>
                    <a:pt x="144423" y="115701"/>
                    <a:pt x="143784" y="106764"/>
                  </a:cubicBezTo>
                  <a:cubicBezTo>
                    <a:pt x="143784" y="98465"/>
                    <a:pt x="146341" y="90804"/>
                    <a:pt x="151452" y="83781"/>
                  </a:cubicBezTo>
                  <a:close/>
                  <a:moveTo>
                    <a:pt x="139311" y="44201"/>
                  </a:moveTo>
                  <a:cubicBezTo>
                    <a:pt x="139311" y="26326"/>
                    <a:pt x="153369" y="12281"/>
                    <a:pt x="170622" y="11642"/>
                  </a:cubicBezTo>
                  <a:cubicBezTo>
                    <a:pt x="188514" y="11642"/>
                    <a:pt x="202572" y="25687"/>
                    <a:pt x="203211" y="42924"/>
                  </a:cubicBezTo>
                  <a:cubicBezTo>
                    <a:pt x="203211" y="60799"/>
                    <a:pt x="189153" y="74844"/>
                    <a:pt x="171900" y="75482"/>
                  </a:cubicBezTo>
                  <a:cubicBezTo>
                    <a:pt x="166788" y="75482"/>
                    <a:pt x="162315" y="74205"/>
                    <a:pt x="157842" y="72290"/>
                  </a:cubicBezTo>
                  <a:cubicBezTo>
                    <a:pt x="162315" y="65268"/>
                    <a:pt x="167427" y="58884"/>
                    <a:pt x="171261" y="53777"/>
                  </a:cubicBezTo>
                  <a:lnTo>
                    <a:pt x="177012" y="60799"/>
                  </a:lnTo>
                  <a:cubicBezTo>
                    <a:pt x="178290" y="62076"/>
                    <a:pt x="180207" y="63353"/>
                    <a:pt x="182124" y="63353"/>
                  </a:cubicBezTo>
                  <a:cubicBezTo>
                    <a:pt x="183402" y="63353"/>
                    <a:pt x="185319" y="62714"/>
                    <a:pt x="186597" y="62076"/>
                  </a:cubicBezTo>
                  <a:cubicBezTo>
                    <a:pt x="189153" y="59522"/>
                    <a:pt x="189792" y="55692"/>
                    <a:pt x="187236" y="53138"/>
                  </a:cubicBezTo>
                  <a:cubicBezTo>
                    <a:pt x="187236" y="53138"/>
                    <a:pt x="187236" y="53138"/>
                    <a:pt x="187236" y="53138"/>
                  </a:cubicBezTo>
                  <a:lnTo>
                    <a:pt x="180846" y="45478"/>
                  </a:lnTo>
                  <a:lnTo>
                    <a:pt x="188514" y="38455"/>
                  </a:lnTo>
                  <a:cubicBezTo>
                    <a:pt x="191070" y="35902"/>
                    <a:pt x="191709" y="32071"/>
                    <a:pt x="189153" y="29518"/>
                  </a:cubicBezTo>
                  <a:cubicBezTo>
                    <a:pt x="186597" y="26964"/>
                    <a:pt x="182763" y="26326"/>
                    <a:pt x="180207" y="28879"/>
                  </a:cubicBezTo>
                  <a:lnTo>
                    <a:pt x="172539" y="35902"/>
                  </a:lnTo>
                  <a:lnTo>
                    <a:pt x="166149" y="28241"/>
                  </a:lnTo>
                  <a:cubicBezTo>
                    <a:pt x="163593" y="25687"/>
                    <a:pt x="159759" y="25049"/>
                    <a:pt x="157203" y="27602"/>
                  </a:cubicBezTo>
                  <a:cubicBezTo>
                    <a:pt x="154647" y="30156"/>
                    <a:pt x="154008" y="33986"/>
                    <a:pt x="156564" y="36540"/>
                  </a:cubicBezTo>
                  <a:lnTo>
                    <a:pt x="162954" y="44201"/>
                  </a:lnTo>
                  <a:lnTo>
                    <a:pt x="155286" y="51223"/>
                  </a:lnTo>
                  <a:lnTo>
                    <a:pt x="155286" y="51223"/>
                  </a:lnTo>
                  <a:cubicBezTo>
                    <a:pt x="152091" y="53777"/>
                    <a:pt x="148257" y="56330"/>
                    <a:pt x="143784" y="58884"/>
                  </a:cubicBezTo>
                  <a:cubicBezTo>
                    <a:pt x="141228" y="53777"/>
                    <a:pt x="139951" y="48670"/>
                    <a:pt x="139311" y="44201"/>
                  </a:cubicBezTo>
                  <a:lnTo>
                    <a:pt x="139311" y="44201"/>
                  </a:lnTo>
                  <a:close/>
                  <a:moveTo>
                    <a:pt x="43462" y="75482"/>
                  </a:moveTo>
                  <a:cubicBezTo>
                    <a:pt x="26209" y="75482"/>
                    <a:pt x="12152" y="61438"/>
                    <a:pt x="11513" y="44201"/>
                  </a:cubicBezTo>
                  <a:cubicBezTo>
                    <a:pt x="11513" y="26964"/>
                    <a:pt x="25571" y="12919"/>
                    <a:pt x="42824" y="12281"/>
                  </a:cubicBezTo>
                  <a:cubicBezTo>
                    <a:pt x="60076" y="12281"/>
                    <a:pt x="74134" y="26326"/>
                    <a:pt x="74773" y="43562"/>
                  </a:cubicBezTo>
                  <a:cubicBezTo>
                    <a:pt x="74773" y="48031"/>
                    <a:pt x="74134" y="51862"/>
                    <a:pt x="72217" y="56330"/>
                  </a:cubicBezTo>
                  <a:cubicBezTo>
                    <a:pt x="65188" y="51862"/>
                    <a:pt x="58798" y="47393"/>
                    <a:pt x="53686" y="42924"/>
                  </a:cubicBezTo>
                  <a:lnTo>
                    <a:pt x="60076" y="37817"/>
                  </a:lnTo>
                  <a:cubicBezTo>
                    <a:pt x="62632" y="35263"/>
                    <a:pt x="63271" y="31433"/>
                    <a:pt x="60715" y="28879"/>
                  </a:cubicBezTo>
                  <a:cubicBezTo>
                    <a:pt x="58159" y="26326"/>
                    <a:pt x="54325" y="25687"/>
                    <a:pt x="51769" y="28241"/>
                  </a:cubicBezTo>
                  <a:lnTo>
                    <a:pt x="44102" y="35263"/>
                  </a:lnTo>
                  <a:lnTo>
                    <a:pt x="37712" y="27602"/>
                  </a:lnTo>
                  <a:cubicBezTo>
                    <a:pt x="35794" y="25049"/>
                    <a:pt x="31961" y="24410"/>
                    <a:pt x="28766" y="26326"/>
                  </a:cubicBezTo>
                  <a:cubicBezTo>
                    <a:pt x="26209" y="28241"/>
                    <a:pt x="25571" y="32071"/>
                    <a:pt x="27488" y="35263"/>
                  </a:cubicBezTo>
                  <a:cubicBezTo>
                    <a:pt x="27488" y="35263"/>
                    <a:pt x="28127" y="35902"/>
                    <a:pt x="28127" y="35902"/>
                  </a:cubicBezTo>
                  <a:lnTo>
                    <a:pt x="34517" y="43562"/>
                  </a:lnTo>
                  <a:lnTo>
                    <a:pt x="26849" y="50585"/>
                  </a:lnTo>
                  <a:cubicBezTo>
                    <a:pt x="24293" y="53138"/>
                    <a:pt x="23654" y="56969"/>
                    <a:pt x="26209" y="59522"/>
                  </a:cubicBezTo>
                  <a:cubicBezTo>
                    <a:pt x="28766" y="62076"/>
                    <a:pt x="32599" y="62714"/>
                    <a:pt x="35156" y="60161"/>
                  </a:cubicBezTo>
                  <a:lnTo>
                    <a:pt x="42824" y="53138"/>
                  </a:lnTo>
                  <a:lnTo>
                    <a:pt x="49213" y="60799"/>
                  </a:lnTo>
                  <a:cubicBezTo>
                    <a:pt x="49213" y="60799"/>
                    <a:pt x="49852" y="60799"/>
                    <a:pt x="49852" y="61438"/>
                  </a:cubicBezTo>
                  <a:cubicBezTo>
                    <a:pt x="52408" y="64630"/>
                    <a:pt x="54964" y="68460"/>
                    <a:pt x="56881" y="72290"/>
                  </a:cubicBezTo>
                  <a:cubicBezTo>
                    <a:pt x="53047" y="74205"/>
                    <a:pt x="48574" y="75482"/>
                    <a:pt x="43462" y="75482"/>
                  </a:cubicBezTo>
                  <a:lnTo>
                    <a:pt x="43462" y="75482"/>
                  </a:lnTo>
                  <a:close/>
                  <a:moveTo>
                    <a:pt x="75412" y="171880"/>
                  </a:moveTo>
                  <a:cubicBezTo>
                    <a:pt x="75412" y="189117"/>
                    <a:pt x="61354" y="203162"/>
                    <a:pt x="44102" y="203162"/>
                  </a:cubicBezTo>
                  <a:cubicBezTo>
                    <a:pt x="26849" y="203162"/>
                    <a:pt x="12791" y="189117"/>
                    <a:pt x="12791" y="171880"/>
                  </a:cubicBezTo>
                  <a:cubicBezTo>
                    <a:pt x="12791" y="154644"/>
                    <a:pt x="26849" y="140599"/>
                    <a:pt x="44102" y="140599"/>
                  </a:cubicBezTo>
                  <a:cubicBezTo>
                    <a:pt x="48574" y="140599"/>
                    <a:pt x="52408" y="141237"/>
                    <a:pt x="56242" y="143153"/>
                  </a:cubicBezTo>
                  <a:cubicBezTo>
                    <a:pt x="51769" y="150175"/>
                    <a:pt x="46657" y="156559"/>
                    <a:pt x="43462" y="161028"/>
                  </a:cubicBezTo>
                  <a:lnTo>
                    <a:pt x="38350" y="155282"/>
                  </a:lnTo>
                  <a:cubicBezTo>
                    <a:pt x="36434" y="152729"/>
                    <a:pt x="32599" y="152090"/>
                    <a:pt x="29404" y="154005"/>
                  </a:cubicBezTo>
                  <a:cubicBezTo>
                    <a:pt x="26849" y="155920"/>
                    <a:pt x="26209" y="159751"/>
                    <a:pt x="28127" y="162943"/>
                  </a:cubicBezTo>
                  <a:cubicBezTo>
                    <a:pt x="28127" y="162943"/>
                    <a:pt x="28766" y="163581"/>
                    <a:pt x="28766" y="163581"/>
                  </a:cubicBezTo>
                  <a:lnTo>
                    <a:pt x="35156" y="171242"/>
                  </a:lnTo>
                  <a:lnTo>
                    <a:pt x="27488" y="177626"/>
                  </a:lnTo>
                  <a:cubicBezTo>
                    <a:pt x="24932" y="180180"/>
                    <a:pt x="24293" y="184010"/>
                    <a:pt x="26849" y="186564"/>
                  </a:cubicBezTo>
                  <a:cubicBezTo>
                    <a:pt x="29404" y="189117"/>
                    <a:pt x="33239" y="189756"/>
                    <a:pt x="35794" y="187202"/>
                  </a:cubicBezTo>
                  <a:lnTo>
                    <a:pt x="43462" y="180180"/>
                  </a:lnTo>
                  <a:lnTo>
                    <a:pt x="49852" y="187840"/>
                  </a:lnTo>
                  <a:cubicBezTo>
                    <a:pt x="52408" y="190394"/>
                    <a:pt x="56242" y="191032"/>
                    <a:pt x="58798" y="188479"/>
                  </a:cubicBezTo>
                  <a:cubicBezTo>
                    <a:pt x="61354" y="185925"/>
                    <a:pt x="61993" y="182095"/>
                    <a:pt x="59437" y="179541"/>
                  </a:cubicBezTo>
                  <a:lnTo>
                    <a:pt x="53047" y="171880"/>
                  </a:lnTo>
                  <a:lnTo>
                    <a:pt x="53686" y="171242"/>
                  </a:lnTo>
                  <a:cubicBezTo>
                    <a:pt x="58798" y="167412"/>
                    <a:pt x="65188" y="162304"/>
                    <a:pt x="72856" y="157836"/>
                  </a:cubicBezTo>
                  <a:cubicBezTo>
                    <a:pt x="74134" y="162943"/>
                    <a:pt x="75412" y="167412"/>
                    <a:pt x="75412" y="171880"/>
                  </a:cubicBezTo>
                  <a:lnTo>
                    <a:pt x="75412" y="171880"/>
                  </a:lnTo>
                  <a:close/>
                  <a:moveTo>
                    <a:pt x="171261" y="140599"/>
                  </a:moveTo>
                  <a:cubicBezTo>
                    <a:pt x="189153" y="140599"/>
                    <a:pt x="203211" y="154644"/>
                    <a:pt x="203850" y="171880"/>
                  </a:cubicBezTo>
                  <a:cubicBezTo>
                    <a:pt x="203850" y="189756"/>
                    <a:pt x="189792" y="203800"/>
                    <a:pt x="172539" y="204439"/>
                  </a:cubicBezTo>
                  <a:cubicBezTo>
                    <a:pt x="155286" y="205077"/>
                    <a:pt x="140589" y="190394"/>
                    <a:pt x="139951" y="173157"/>
                  </a:cubicBezTo>
                  <a:cubicBezTo>
                    <a:pt x="139951" y="168688"/>
                    <a:pt x="140589" y="163581"/>
                    <a:pt x="143146" y="159112"/>
                  </a:cubicBezTo>
                  <a:cubicBezTo>
                    <a:pt x="150174" y="163581"/>
                    <a:pt x="156564" y="168050"/>
                    <a:pt x="161676" y="172519"/>
                  </a:cubicBezTo>
                  <a:lnTo>
                    <a:pt x="155286" y="178264"/>
                  </a:lnTo>
                  <a:cubicBezTo>
                    <a:pt x="152731" y="180818"/>
                    <a:pt x="152091" y="184648"/>
                    <a:pt x="154647" y="187202"/>
                  </a:cubicBezTo>
                  <a:cubicBezTo>
                    <a:pt x="155925" y="188479"/>
                    <a:pt x="157842" y="189117"/>
                    <a:pt x="159759" y="189756"/>
                  </a:cubicBezTo>
                  <a:cubicBezTo>
                    <a:pt x="161037" y="189756"/>
                    <a:pt x="162954" y="189117"/>
                    <a:pt x="164232" y="188479"/>
                  </a:cubicBezTo>
                  <a:lnTo>
                    <a:pt x="171900" y="181456"/>
                  </a:lnTo>
                  <a:lnTo>
                    <a:pt x="178290" y="189117"/>
                  </a:lnTo>
                  <a:cubicBezTo>
                    <a:pt x="180207" y="191671"/>
                    <a:pt x="184041" y="192309"/>
                    <a:pt x="187236" y="190394"/>
                  </a:cubicBezTo>
                  <a:cubicBezTo>
                    <a:pt x="189792" y="188479"/>
                    <a:pt x="190431" y="184648"/>
                    <a:pt x="188514" y="181456"/>
                  </a:cubicBezTo>
                  <a:cubicBezTo>
                    <a:pt x="188514" y="181456"/>
                    <a:pt x="187875" y="180818"/>
                    <a:pt x="187875" y="180818"/>
                  </a:cubicBezTo>
                  <a:lnTo>
                    <a:pt x="181485" y="173157"/>
                  </a:lnTo>
                  <a:lnTo>
                    <a:pt x="189153" y="166135"/>
                  </a:lnTo>
                  <a:cubicBezTo>
                    <a:pt x="191709" y="164220"/>
                    <a:pt x="192348" y="159751"/>
                    <a:pt x="189792" y="157197"/>
                  </a:cubicBezTo>
                  <a:cubicBezTo>
                    <a:pt x="187875" y="154644"/>
                    <a:pt x="183402" y="154005"/>
                    <a:pt x="180846" y="156559"/>
                  </a:cubicBezTo>
                  <a:cubicBezTo>
                    <a:pt x="180846" y="156559"/>
                    <a:pt x="180846" y="156559"/>
                    <a:pt x="180846" y="156559"/>
                  </a:cubicBezTo>
                  <a:lnTo>
                    <a:pt x="173178" y="162943"/>
                  </a:lnTo>
                  <a:cubicBezTo>
                    <a:pt x="169344" y="157836"/>
                    <a:pt x="164232" y="150813"/>
                    <a:pt x="159120" y="143153"/>
                  </a:cubicBezTo>
                  <a:cubicBezTo>
                    <a:pt x="162954" y="141876"/>
                    <a:pt x="166788" y="140599"/>
                    <a:pt x="171261" y="140599"/>
                  </a:cubicBezTo>
                  <a:lnTo>
                    <a:pt x="171261" y="140599"/>
                  </a:lnTo>
                  <a:close/>
                  <a:moveTo>
                    <a:pt x="139311" y="141876"/>
                  </a:moveTo>
                  <a:cubicBezTo>
                    <a:pt x="120781" y="127193"/>
                    <a:pt x="95221" y="127193"/>
                    <a:pt x="76690" y="141876"/>
                  </a:cubicBezTo>
                  <a:cubicBezTo>
                    <a:pt x="76051" y="140599"/>
                    <a:pt x="74773" y="139961"/>
                    <a:pt x="73495" y="139322"/>
                  </a:cubicBezTo>
                  <a:cubicBezTo>
                    <a:pt x="79885" y="129746"/>
                    <a:pt x="83719" y="118893"/>
                    <a:pt x="84997" y="107402"/>
                  </a:cubicBezTo>
                  <a:cubicBezTo>
                    <a:pt x="83719" y="96549"/>
                    <a:pt x="80524" y="85697"/>
                    <a:pt x="74773" y="76121"/>
                  </a:cubicBezTo>
                  <a:lnTo>
                    <a:pt x="76690" y="74205"/>
                  </a:lnTo>
                  <a:cubicBezTo>
                    <a:pt x="86275" y="80589"/>
                    <a:pt x="97138" y="84420"/>
                    <a:pt x="108001" y="85697"/>
                  </a:cubicBezTo>
                  <a:lnTo>
                    <a:pt x="108001" y="85697"/>
                  </a:lnTo>
                  <a:cubicBezTo>
                    <a:pt x="118864" y="84420"/>
                    <a:pt x="129727" y="81228"/>
                    <a:pt x="138673" y="75482"/>
                  </a:cubicBezTo>
                  <a:cubicBezTo>
                    <a:pt x="139311" y="76121"/>
                    <a:pt x="139951" y="76759"/>
                    <a:pt x="139951" y="76759"/>
                  </a:cubicBezTo>
                  <a:cubicBezTo>
                    <a:pt x="134200" y="85697"/>
                    <a:pt x="130366" y="96549"/>
                    <a:pt x="129088" y="107402"/>
                  </a:cubicBezTo>
                  <a:cubicBezTo>
                    <a:pt x="130366" y="118893"/>
                    <a:pt x="134200" y="130385"/>
                    <a:pt x="140589" y="139961"/>
                  </a:cubicBezTo>
                  <a:lnTo>
                    <a:pt x="139311" y="141876"/>
                  </a:lnTo>
                  <a:close/>
                </a:path>
              </a:pathLst>
            </a:custGeom>
            <a:grpFill/>
            <a:ln w="6390" cap="flat">
              <a:noFill/>
              <a:prstDash val="solid"/>
              <a:miter/>
            </a:ln>
          </p:spPr>
          <p:txBody>
            <a:bodyPr rtlCol="0" anchor="ctr"/>
            <a:lstStyle/>
            <a:p>
              <a:endParaRPr lang="en-US"/>
            </a:p>
          </p:txBody>
        </p:sp>
      </p:grpSp>
      <p:grpSp>
        <p:nvGrpSpPr>
          <p:cNvPr id="80" name="Graphic 4">
            <a:extLst>
              <a:ext uri="{FF2B5EF4-FFF2-40B4-BE49-F238E27FC236}">
                <a16:creationId xmlns:a16="http://schemas.microsoft.com/office/drawing/2014/main" id="{E899C01D-BBE3-BF10-C737-577B4BF4E8D6}"/>
              </a:ext>
            </a:extLst>
          </p:cNvPr>
          <p:cNvGrpSpPr>
            <a:grpSpLocks noChangeAspect="1"/>
          </p:cNvGrpSpPr>
          <p:nvPr/>
        </p:nvGrpSpPr>
        <p:grpSpPr>
          <a:xfrm>
            <a:off x="6335793" y="2416515"/>
            <a:ext cx="521208" cy="520722"/>
            <a:chOff x="6753524" y="4792617"/>
            <a:chExt cx="361670" cy="361333"/>
          </a:xfrm>
          <a:solidFill>
            <a:schemeClr val="accent5"/>
          </a:solidFill>
        </p:grpSpPr>
        <p:sp>
          <p:nvSpPr>
            <p:cNvPr id="81" name="Graphic 4">
              <a:extLst>
                <a:ext uri="{FF2B5EF4-FFF2-40B4-BE49-F238E27FC236}">
                  <a16:creationId xmlns:a16="http://schemas.microsoft.com/office/drawing/2014/main" id="{09FEC284-4628-7DC5-8BF5-39EB5B761B44}"/>
                </a:ext>
              </a:extLst>
            </p:cNvPr>
            <p:cNvSpPr/>
            <p:nvPr/>
          </p:nvSpPr>
          <p:spPr>
            <a:xfrm>
              <a:off x="6753524" y="4792617"/>
              <a:ext cx="361670" cy="361333"/>
            </a:xfrm>
            <a:custGeom>
              <a:avLst/>
              <a:gdLst>
                <a:gd name="connsiteX0" fmla="*/ 180835 w 361670"/>
                <a:gd name="connsiteY0" fmla="*/ 0 h 361333"/>
                <a:gd name="connsiteX1" fmla="*/ 0 w 361670"/>
                <a:gd name="connsiteY1" fmla="*/ 180667 h 361333"/>
                <a:gd name="connsiteX2" fmla="*/ 180835 w 361670"/>
                <a:gd name="connsiteY2" fmla="*/ 361334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7 h 361333"/>
                <a:gd name="connsiteX8" fmla="*/ 348890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4"/>
                    <a:pt x="180835" y="361334"/>
                  </a:cubicBezTo>
                  <a:cubicBezTo>
                    <a:pt x="281157" y="361334"/>
                    <a:pt x="361670" y="280257"/>
                    <a:pt x="361670" y="180667"/>
                  </a:cubicBezTo>
                  <a:cubicBezTo>
                    <a:pt x="361670" y="81077"/>
                    <a:pt x="281157" y="0"/>
                    <a:pt x="180835" y="0"/>
                  </a:cubicBezTo>
                  <a:close/>
                  <a:moveTo>
                    <a:pt x="180835" y="349204"/>
                  </a:moveTo>
                  <a:cubicBezTo>
                    <a:pt x="88181" y="349204"/>
                    <a:pt x="12780" y="273873"/>
                    <a:pt x="12780" y="181305"/>
                  </a:cubicBezTo>
                  <a:cubicBezTo>
                    <a:pt x="12780" y="88738"/>
                    <a:pt x="88181" y="13407"/>
                    <a:pt x="180835" y="13407"/>
                  </a:cubicBezTo>
                  <a:cubicBezTo>
                    <a:pt x="273489" y="13407"/>
                    <a:pt x="348890" y="88738"/>
                    <a:pt x="348890" y="181305"/>
                  </a:cubicBezTo>
                  <a:cubicBezTo>
                    <a:pt x="348890" y="273873"/>
                    <a:pt x="274128" y="349204"/>
                    <a:pt x="180835" y="349204"/>
                  </a:cubicBezTo>
                  <a:close/>
                </a:path>
              </a:pathLst>
            </a:custGeom>
            <a:grpFill/>
            <a:ln w="6390" cap="flat">
              <a:noFill/>
              <a:prstDash val="solid"/>
              <a:miter/>
            </a:ln>
          </p:spPr>
          <p:txBody>
            <a:bodyPr rtlCol="0" anchor="ctr"/>
            <a:lstStyle/>
            <a:p>
              <a:endParaRPr lang="en-US"/>
            </a:p>
          </p:txBody>
        </p:sp>
        <p:sp>
          <p:nvSpPr>
            <p:cNvPr id="82" name="Graphic 4">
              <a:extLst>
                <a:ext uri="{FF2B5EF4-FFF2-40B4-BE49-F238E27FC236}">
                  <a16:creationId xmlns:a16="http://schemas.microsoft.com/office/drawing/2014/main" id="{B3452006-0EEE-C450-0E36-5225A7772FE5}"/>
                </a:ext>
              </a:extLst>
            </p:cNvPr>
            <p:cNvSpPr/>
            <p:nvPr/>
          </p:nvSpPr>
          <p:spPr>
            <a:xfrm>
              <a:off x="6816785" y="4887101"/>
              <a:ext cx="235788" cy="173644"/>
            </a:xfrm>
            <a:custGeom>
              <a:avLst/>
              <a:gdLst>
                <a:gd name="connsiteX0" fmla="*/ 228120 w 235788"/>
                <a:gd name="connsiteY0" fmla="*/ 12768 h 173644"/>
                <a:gd name="connsiteX1" fmla="*/ 229398 w 235788"/>
                <a:gd name="connsiteY1" fmla="*/ 12768 h 173644"/>
                <a:gd name="connsiteX2" fmla="*/ 235788 w 235788"/>
                <a:gd name="connsiteY2" fmla="*/ 6384 h 173644"/>
                <a:gd name="connsiteX3" fmla="*/ 229398 w 235788"/>
                <a:gd name="connsiteY3" fmla="*/ 0 h 173644"/>
                <a:gd name="connsiteX4" fmla="*/ 221731 w 235788"/>
                <a:gd name="connsiteY4" fmla="*/ 0 h 173644"/>
                <a:gd name="connsiteX5" fmla="*/ 215341 w 235788"/>
                <a:gd name="connsiteY5" fmla="*/ 6384 h 173644"/>
                <a:gd name="connsiteX6" fmla="*/ 215341 w 235788"/>
                <a:gd name="connsiteY6" fmla="*/ 23620 h 173644"/>
                <a:gd name="connsiteX7" fmla="*/ 182752 w 235788"/>
                <a:gd name="connsiteY7" fmla="*/ 23620 h 173644"/>
                <a:gd name="connsiteX8" fmla="*/ 127799 w 235788"/>
                <a:gd name="connsiteY8" fmla="*/ 7660 h 173644"/>
                <a:gd name="connsiteX9" fmla="*/ 123325 w 235788"/>
                <a:gd name="connsiteY9" fmla="*/ 8299 h 173644"/>
                <a:gd name="connsiteX10" fmla="*/ 95209 w 235788"/>
                <a:gd name="connsiteY10" fmla="*/ 23620 h 173644"/>
                <a:gd name="connsiteX11" fmla="*/ 94571 w 235788"/>
                <a:gd name="connsiteY11" fmla="*/ 23620 h 173644"/>
                <a:gd name="connsiteX12" fmla="*/ 20447 w 235788"/>
                <a:gd name="connsiteY12" fmla="*/ 23620 h 173644"/>
                <a:gd name="connsiteX13" fmla="*/ 20447 w 235788"/>
                <a:gd name="connsiteY13" fmla="*/ 6384 h 173644"/>
                <a:gd name="connsiteX14" fmla="*/ 14058 w 235788"/>
                <a:gd name="connsiteY14" fmla="*/ 0 h 173644"/>
                <a:gd name="connsiteX15" fmla="*/ 6390 w 235788"/>
                <a:gd name="connsiteY15" fmla="*/ 0 h 173644"/>
                <a:gd name="connsiteX16" fmla="*/ 0 w 235788"/>
                <a:gd name="connsiteY16" fmla="*/ 6384 h 173644"/>
                <a:gd name="connsiteX17" fmla="*/ 6390 w 235788"/>
                <a:gd name="connsiteY17" fmla="*/ 12768 h 173644"/>
                <a:gd name="connsiteX18" fmla="*/ 7668 w 235788"/>
                <a:gd name="connsiteY18" fmla="*/ 12768 h 173644"/>
                <a:gd name="connsiteX19" fmla="*/ 7668 w 235788"/>
                <a:gd name="connsiteY19" fmla="*/ 127680 h 173644"/>
                <a:gd name="connsiteX20" fmla="*/ 6390 w 235788"/>
                <a:gd name="connsiteY20" fmla="*/ 127680 h 173644"/>
                <a:gd name="connsiteX21" fmla="*/ 0 w 235788"/>
                <a:gd name="connsiteY21" fmla="*/ 134064 h 173644"/>
                <a:gd name="connsiteX22" fmla="*/ 6390 w 235788"/>
                <a:gd name="connsiteY22" fmla="*/ 140448 h 173644"/>
                <a:gd name="connsiteX23" fmla="*/ 14058 w 235788"/>
                <a:gd name="connsiteY23" fmla="*/ 140448 h 173644"/>
                <a:gd name="connsiteX24" fmla="*/ 20447 w 235788"/>
                <a:gd name="connsiteY24" fmla="*/ 134064 h 173644"/>
                <a:gd name="connsiteX25" fmla="*/ 20447 w 235788"/>
                <a:gd name="connsiteY25" fmla="*/ 124488 h 173644"/>
                <a:gd name="connsiteX26" fmla="*/ 34505 w 235788"/>
                <a:gd name="connsiteY26" fmla="*/ 124488 h 173644"/>
                <a:gd name="connsiteX27" fmla="*/ 56870 w 235788"/>
                <a:gd name="connsiteY27" fmla="*/ 161515 h 173644"/>
                <a:gd name="connsiteX28" fmla="*/ 70928 w 235788"/>
                <a:gd name="connsiteY28" fmla="*/ 172368 h 173644"/>
                <a:gd name="connsiteX29" fmla="*/ 77957 w 235788"/>
                <a:gd name="connsiteY29" fmla="*/ 173644 h 173644"/>
                <a:gd name="connsiteX30" fmla="*/ 88820 w 235788"/>
                <a:gd name="connsiteY30" fmla="*/ 170452 h 173644"/>
                <a:gd name="connsiteX31" fmla="*/ 95849 w 235788"/>
                <a:gd name="connsiteY31" fmla="*/ 164068 h 173644"/>
                <a:gd name="connsiteX32" fmla="*/ 107989 w 235788"/>
                <a:gd name="connsiteY32" fmla="*/ 171729 h 173644"/>
                <a:gd name="connsiteX33" fmla="*/ 113740 w 235788"/>
                <a:gd name="connsiteY33" fmla="*/ 172368 h 173644"/>
                <a:gd name="connsiteX34" fmla="*/ 125881 w 235788"/>
                <a:gd name="connsiteY34" fmla="*/ 169176 h 173644"/>
                <a:gd name="connsiteX35" fmla="*/ 133549 w 235788"/>
                <a:gd name="connsiteY35" fmla="*/ 161515 h 173644"/>
                <a:gd name="connsiteX36" fmla="*/ 152080 w 235788"/>
                <a:gd name="connsiteY36" fmla="*/ 170452 h 173644"/>
                <a:gd name="connsiteX37" fmla="*/ 163582 w 235788"/>
                <a:gd name="connsiteY37" fmla="*/ 167260 h 173644"/>
                <a:gd name="connsiteX38" fmla="*/ 173806 w 235788"/>
                <a:gd name="connsiteY38" fmla="*/ 153216 h 173644"/>
                <a:gd name="connsiteX39" fmla="*/ 173806 w 235788"/>
                <a:gd name="connsiteY39" fmla="*/ 153216 h 173644"/>
                <a:gd name="connsiteX40" fmla="*/ 179557 w 235788"/>
                <a:gd name="connsiteY40" fmla="*/ 153854 h 173644"/>
                <a:gd name="connsiteX41" fmla="*/ 191698 w 235788"/>
                <a:gd name="connsiteY41" fmla="*/ 150662 h 173644"/>
                <a:gd name="connsiteX42" fmla="*/ 202561 w 235788"/>
                <a:gd name="connsiteY42" fmla="*/ 124488 h 173644"/>
                <a:gd name="connsiteX43" fmla="*/ 214063 w 235788"/>
                <a:gd name="connsiteY43" fmla="*/ 124488 h 173644"/>
                <a:gd name="connsiteX44" fmla="*/ 215341 w 235788"/>
                <a:gd name="connsiteY44" fmla="*/ 123849 h 173644"/>
                <a:gd name="connsiteX45" fmla="*/ 215341 w 235788"/>
                <a:gd name="connsiteY45" fmla="*/ 133425 h 173644"/>
                <a:gd name="connsiteX46" fmla="*/ 221731 w 235788"/>
                <a:gd name="connsiteY46" fmla="*/ 139809 h 173644"/>
                <a:gd name="connsiteX47" fmla="*/ 229398 w 235788"/>
                <a:gd name="connsiteY47" fmla="*/ 139809 h 173644"/>
                <a:gd name="connsiteX48" fmla="*/ 235788 w 235788"/>
                <a:gd name="connsiteY48" fmla="*/ 133425 h 173644"/>
                <a:gd name="connsiteX49" fmla="*/ 229398 w 235788"/>
                <a:gd name="connsiteY49" fmla="*/ 127041 h 173644"/>
                <a:gd name="connsiteX50" fmla="*/ 228120 w 235788"/>
                <a:gd name="connsiteY50" fmla="*/ 127041 h 173644"/>
                <a:gd name="connsiteX51" fmla="*/ 228120 w 235788"/>
                <a:gd name="connsiteY51" fmla="*/ 12768 h 173644"/>
                <a:gd name="connsiteX52" fmla="*/ 189781 w 235788"/>
                <a:gd name="connsiteY52" fmla="*/ 132787 h 173644"/>
                <a:gd name="connsiteX53" fmla="*/ 184669 w 235788"/>
                <a:gd name="connsiteY53" fmla="*/ 139171 h 173644"/>
                <a:gd name="connsiteX54" fmla="*/ 177001 w 235788"/>
                <a:gd name="connsiteY54" fmla="*/ 140448 h 173644"/>
                <a:gd name="connsiteX55" fmla="*/ 170611 w 235788"/>
                <a:gd name="connsiteY55" fmla="*/ 135340 h 173644"/>
                <a:gd name="connsiteX56" fmla="*/ 145051 w 235788"/>
                <a:gd name="connsiteY56" fmla="*/ 91929 h 173644"/>
                <a:gd name="connsiteX57" fmla="*/ 136105 w 235788"/>
                <a:gd name="connsiteY57" fmla="*/ 89376 h 173644"/>
                <a:gd name="connsiteX58" fmla="*/ 133549 w 235788"/>
                <a:gd name="connsiteY58" fmla="*/ 98313 h 173644"/>
                <a:gd name="connsiteX59" fmla="*/ 159109 w 235788"/>
                <a:gd name="connsiteY59" fmla="*/ 141724 h 173644"/>
                <a:gd name="connsiteX60" fmla="*/ 156553 w 235788"/>
                <a:gd name="connsiteY60" fmla="*/ 155769 h 173644"/>
                <a:gd name="connsiteX61" fmla="*/ 141856 w 235788"/>
                <a:gd name="connsiteY61" fmla="*/ 151939 h 173644"/>
                <a:gd name="connsiteX62" fmla="*/ 132910 w 235788"/>
                <a:gd name="connsiteY62" fmla="*/ 137256 h 173644"/>
                <a:gd name="connsiteX63" fmla="*/ 132910 w 235788"/>
                <a:gd name="connsiteY63" fmla="*/ 136617 h 173644"/>
                <a:gd name="connsiteX64" fmla="*/ 132910 w 235788"/>
                <a:gd name="connsiteY64" fmla="*/ 136617 h 173644"/>
                <a:gd name="connsiteX65" fmla="*/ 120769 w 235788"/>
                <a:gd name="connsiteY65" fmla="*/ 115550 h 173644"/>
                <a:gd name="connsiteX66" fmla="*/ 120130 w 235788"/>
                <a:gd name="connsiteY66" fmla="*/ 114912 h 173644"/>
                <a:gd name="connsiteX67" fmla="*/ 118214 w 235788"/>
                <a:gd name="connsiteY67" fmla="*/ 111081 h 173644"/>
                <a:gd name="connsiteX68" fmla="*/ 109268 w 235788"/>
                <a:gd name="connsiteY68" fmla="*/ 109166 h 173644"/>
                <a:gd name="connsiteX69" fmla="*/ 107350 w 235788"/>
                <a:gd name="connsiteY69" fmla="*/ 118104 h 173644"/>
                <a:gd name="connsiteX70" fmla="*/ 122686 w 235788"/>
                <a:gd name="connsiteY70" fmla="*/ 143640 h 173644"/>
                <a:gd name="connsiteX71" fmla="*/ 118853 w 235788"/>
                <a:gd name="connsiteY71" fmla="*/ 157684 h 173644"/>
                <a:gd name="connsiteX72" fmla="*/ 111184 w 235788"/>
                <a:gd name="connsiteY72" fmla="*/ 158961 h 173644"/>
                <a:gd name="connsiteX73" fmla="*/ 104794 w 235788"/>
                <a:gd name="connsiteY73" fmla="*/ 153854 h 173644"/>
                <a:gd name="connsiteX74" fmla="*/ 104794 w 235788"/>
                <a:gd name="connsiteY74" fmla="*/ 153854 h 173644"/>
                <a:gd name="connsiteX75" fmla="*/ 95849 w 235788"/>
                <a:gd name="connsiteY75" fmla="*/ 139171 h 173644"/>
                <a:gd name="connsiteX76" fmla="*/ 95849 w 235788"/>
                <a:gd name="connsiteY76" fmla="*/ 139171 h 173644"/>
                <a:gd name="connsiteX77" fmla="*/ 95849 w 235788"/>
                <a:gd name="connsiteY77" fmla="*/ 139171 h 173644"/>
                <a:gd name="connsiteX78" fmla="*/ 90098 w 235788"/>
                <a:gd name="connsiteY78" fmla="*/ 130872 h 173644"/>
                <a:gd name="connsiteX79" fmla="*/ 81152 w 235788"/>
                <a:gd name="connsiteY79" fmla="*/ 128956 h 173644"/>
                <a:gd name="connsiteX80" fmla="*/ 79235 w 235788"/>
                <a:gd name="connsiteY80" fmla="*/ 137894 h 173644"/>
                <a:gd name="connsiteX81" fmla="*/ 84986 w 235788"/>
                <a:gd name="connsiteY81" fmla="*/ 146193 h 173644"/>
                <a:gd name="connsiteX82" fmla="*/ 86264 w 235788"/>
                <a:gd name="connsiteY82" fmla="*/ 153854 h 173644"/>
                <a:gd name="connsiteX83" fmla="*/ 81791 w 235788"/>
                <a:gd name="connsiteY83" fmla="*/ 159600 h 173644"/>
                <a:gd name="connsiteX84" fmla="*/ 74123 w 235788"/>
                <a:gd name="connsiteY84" fmla="*/ 160238 h 173644"/>
                <a:gd name="connsiteX85" fmla="*/ 67094 w 235788"/>
                <a:gd name="connsiteY85" fmla="*/ 154492 h 173644"/>
                <a:gd name="connsiteX86" fmla="*/ 43451 w 235788"/>
                <a:gd name="connsiteY86" fmla="*/ 114912 h 173644"/>
                <a:gd name="connsiteX87" fmla="*/ 37700 w 235788"/>
                <a:gd name="connsiteY87" fmla="*/ 111720 h 173644"/>
                <a:gd name="connsiteX88" fmla="*/ 20447 w 235788"/>
                <a:gd name="connsiteY88" fmla="*/ 111720 h 173644"/>
                <a:gd name="connsiteX89" fmla="*/ 20447 w 235788"/>
                <a:gd name="connsiteY89" fmla="*/ 37027 h 173644"/>
                <a:gd name="connsiteX90" fmla="*/ 70928 w 235788"/>
                <a:gd name="connsiteY90" fmla="*/ 37027 h 173644"/>
                <a:gd name="connsiteX91" fmla="*/ 58787 w 235788"/>
                <a:gd name="connsiteY91" fmla="*/ 43411 h 173644"/>
                <a:gd name="connsiteX92" fmla="*/ 47925 w 235788"/>
                <a:gd name="connsiteY92" fmla="*/ 62563 h 173644"/>
                <a:gd name="connsiteX93" fmla="*/ 55592 w 235788"/>
                <a:gd name="connsiteY93" fmla="*/ 80438 h 173644"/>
                <a:gd name="connsiteX94" fmla="*/ 71567 w 235788"/>
                <a:gd name="connsiteY94" fmla="*/ 84907 h 173644"/>
                <a:gd name="connsiteX95" fmla="*/ 157831 w 235788"/>
                <a:gd name="connsiteY95" fmla="*/ 70224 h 173644"/>
                <a:gd name="connsiteX96" fmla="*/ 189142 w 235788"/>
                <a:gd name="connsiteY96" fmla="*/ 125126 h 173644"/>
                <a:gd name="connsiteX97" fmla="*/ 189781 w 235788"/>
                <a:gd name="connsiteY97" fmla="*/ 132787 h 173644"/>
                <a:gd name="connsiteX98" fmla="*/ 213423 w 235788"/>
                <a:gd name="connsiteY98" fmla="*/ 111720 h 173644"/>
                <a:gd name="connsiteX99" fmla="*/ 197448 w 235788"/>
                <a:gd name="connsiteY99" fmla="*/ 111720 h 173644"/>
                <a:gd name="connsiteX100" fmla="*/ 195532 w 235788"/>
                <a:gd name="connsiteY100" fmla="*/ 112358 h 173644"/>
                <a:gd name="connsiteX101" fmla="*/ 166138 w 235788"/>
                <a:gd name="connsiteY101" fmla="*/ 60009 h 173644"/>
                <a:gd name="connsiteX102" fmla="*/ 159748 w 235788"/>
                <a:gd name="connsiteY102" fmla="*/ 56817 h 173644"/>
                <a:gd name="connsiteX103" fmla="*/ 69011 w 235788"/>
                <a:gd name="connsiteY103" fmla="*/ 72139 h 173644"/>
                <a:gd name="connsiteX104" fmla="*/ 63260 w 235788"/>
                <a:gd name="connsiteY104" fmla="*/ 70862 h 173644"/>
                <a:gd name="connsiteX105" fmla="*/ 60065 w 235788"/>
                <a:gd name="connsiteY105" fmla="*/ 62563 h 173644"/>
                <a:gd name="connsiteX106" fmla="*/ 64538 w 235788"/>
                <a:gd name="connsiteY106" fmla="*/ 54902 h 173644"/>
                <a:gd name="connsiteX107" fmla="*/ 125881 w 235788"/>
                <a:gd name="connsiteY107" fmla="*/ 21705 h 173644"/>
                <a:gd name="connsiteX108" fmla="*/ 178918 w 235788"/>
                <a:gd name="connsiteY108" fmla="*/ 37027 h 173644"/>
                <a:gd name="connsiteX109" fmla="*/ 180835 w 235788"/>
                <a:gd name="connsiteY109" fmla="*/ 37027 h 173644"/>
                <a:gd name="connsiteX110" fmla="*/ 214063 w 235788"/>
                <a:gd name="connsiteY110" fmla="*/ 37027 h 173644"/>
                <a:gd name="connsiteX111" fmla="*/ 214063 w 235788"/>
                <a:gd name="connsiteY111" fmla="*/ 112358 h 173644"/>
                <a:gd name="connsiteX112" fmla="*/ 213423 w 235788"/>
                <a:gd name="connsiteY112" fmla="*/ 111720 h 17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235788" h="173644">
                  <a:moveTo>
                    <a:pt x="228120" y="12768"/>
                  </a:moveTo>
                  <a:lnTo>
                    <a:pt x="229398" y="12768"/>
                  </a:lnTo>
                  <a:cubicBezTo>
                    <a:pt x="233233" y="12768"/>
                    <a:pt x="235788" y="10214"/>
                    <a:pt x="235788" y="6384"/>
                  </a:cubicBezTo>
                  <a:cubicBezTo>
                    <a:pt x="235788" y="2553"/>
                    <a:pt x="233233" y="0"/>
                    <a:pt x="229398" y="0"/>
                  </a:cubicBezTo>
                  <a:lnTo>
                    <a:pt x="221731" y="0"/>
                  </a:lnTo>
                  <a:cubicBezTo>
                    <a:pt x="217897" y="0"/>
                    <a:pt x="215341" y="2553"/>
                    <a:pt x="215341" y="6384"/>
                  </a:cubicBezTo>
                  <a:lnTo>
                    <a:pt x="215341" y="23620"/>
                  </a:lnTo>
                  <a:lnTo>
                    <a:pt x="182752" y="23620"/>
                  </a:lnTo>
                  <a:lnTo>
                    <a:pt x="127799" y="7660"/>
                  </a:lnTo>
                  <a:cubicBezTo>
                    <a:pt x="126520" y="7022"/>
                    <a:pt x="124604" y="7660"/>
                    <a:pt x="123325" y="8299"/>
                  </a:cubicBezTo>
                  <a:lnTo>
                    <a:pt x="95209" y="23620"/>
                  </a:lnTo>
                  <a:cubicBezTo>
                    <a:pt x="95209" y="23620"/>
                    <a:pt x="95209" y="23620"/>
                    <a:pt x="94571" y="23620"/>
                  </a:cubicBezTo>
                  <a:lnTo>
                    <a:pt x="20447" y="23620"/>
                  </a:lnTo>
                  <a:lnTo>
                    <a:pt x="20447" y="6384"/>
                  </a:lnTo>
                  <a:cubicBezTo>
                    <a:pt x="20447" y="2553"/>
                    <a:pt x="17891" y="0"/>
                    <a:pt x="14058" y="0"/>
                  </a:cubicBezTo>
                  <a:lnTo>
                    <a:pt x="6390" y="0"/>
                  </a:lnTo>
                  <a:cubicBezTo>
                    <a:pt x="2555" y="0"/>
                    <a:pt x="0" y="2553"/>
                    <a:pt x="0" y="6384"/>
                  </a:cubicBezTo>
                  <a:cubicBezTo>
                    <a:pt x="0" y="10214"/>
                    <a:pt x="2555" y="12768"/>
                    <a:pt x="6390" y="12768"/>
                  </a:cubicBezTo>
                  <a:lnTo>
                    <a:pt x="7668" y="12768"/>
                  </a:lnTo>
                  <a:lnTo>
                    <a:pt x="7668" y="127680"/>
                  </a:lnTo>
                  <a:lnTo>
                    <a:pt x="6390" y="127680"/>
                  </a:lnTo>
                  <a:cubicBezTo>
                    <a:pt x="2555" y="127680"/>
                    <a:pt x="0" y="130233"/>
                    <a:pt x="0" y="134064"/>
                  </a:cubicBezTo>
                  <a:cubicBezTo>
                    <a:pt x="0" y="137894"/>
                    <a:pt x="2555" y="140448"/>
                    <a:pt x="6390" y="140448"/>
                  </a:cubicBezTo>
                  <a:lnTo>
                    <a:pt x="14058" y="140448"/>
                  </a:lnTo>
                  <a:cubicBezTo>
                    <a:pt x="17891" y="140448"/>
                    <a:pt x="20447" y="137894"/>
                    <a:pt x="20447" y="134064"/>
                  </a:cubicBezTo>
                  <a:lnTo>
                    <a:pt x="20447" y="124488"/>
                  </a:lnTo>
                  <a:lnTo>
                    <a:pt x="34505" y="124488"/>
                  </a:lnTo>
                  <a:lnTo>
                    <a:pt x="56870" y="161515"/>
                  </a:lnTo>
                  <a:cubicBezTo>
                    <a:pt x="60065" y="166622"/>
                    <a:pt x="65177" y="170452"/>
                    <a:pt x="70928" y="172368"/>
                  </a:cubicBezTo>
                  <a:cubicBezTo>
                    <a:pt x="73484" y="173006"/>
                    <a:pt x="75401" y="173644"/>
                    <a:pt x="77957" y="173644"/>
                  </a:cubicBezTo>
                  <a:cubicBezTo>
                    <a:pt x="81791" y="173644"/>
                    <a:pt x="85625" y="172368"/>
                    <a:pt x="88820" y="170452"/>
                  </a:cubicBezTo>
                  <a:cubicBezTo>
                    <a:pt x="92014" y="168537"/>
                    <a:pt x="93932" y="166622"/>
                    <a:pt x="95849" y="164068"/>
                  </a:cubicBezTo>
                  <a:cubicBezTo>
                    <a:pt x="99044" y="167899"/>
                    <a:pt x="102878" y="170452"/>
                    <a:pt x="107989" y="171729"/>
                  </a:cubicBezTo>
                  <a:cubicBezTo>
                    <a:pt x="109907" y="172368"/>
                    <a:pt x="111824" y="172368"/>
                    <a:pt x="113740" y="172368"/>
                  </a:cubicBezTo>
                  <a:cubicBezTo>
                    <a:pt x="117574" y="172368"/>
                    <a:pt x="122048" y="171091"/>
                    <a:pt x="125881" y="169176"/>
                  </a:cubicBezTo>
                  <a:cubicBezTo>
                    <a:pt x="129076" y="167260"/>
                    <a:pt x="131633" y="164707"/>
                    <a:pt x="133549" y="161515"/>
                  </a:cubicBezTo>
                  <a:cubicBezTo>
                    <a:pt x="138022" y="167260"/>
                    <a:pt x="145051" y="170452"/>
                    <a:pt x="152080" y="170452"/>
                  </a:cubicBezTo>
                  <a:cubicBezTo>
                    <a:pt x="155914" y="170452"/>
                    <a:pt x="159748" y="169176"/>
                    <a:pt x="163582" y="167260"/>
                  </a:cubicBezTo>
                  <a:cubicBezTo>
                    <a:pt x="169333" y="164068"/>
                    <a:pt x="172528" y="158961"/>
                    <a:pt x="173806" y="153216"/>
                  </a:cubicBezTo>
                  <a:cubicBezTo>
                    <a:pt x="173806" y="153216"/>
                    <a:pt x="173806" y="153216"/>
                    <a:pt x="173806" y="153216"/>
                  </a:cubicBezTo>
                  <a:cubicBezTo>
                    <a:pt x="175723" y="153854"/>
                    <a:pt x="177640" y="153854"/>
                    <a:pt x="179557" y="153854"/>
                  </a:cubicBezTo>
                  <a:cubicBezTo>
                    <a:pt x="183391" y="153854"/>
                    <a:pt x="187864" y="152577"/>
                    <a:pt x="191698" y="150662"/>
                  </a:cubicBezTo>
                  <a:cubicBezTo>
                    <a:pt x="200643" y="145555"/>
                    <a:pt x="205117" y="134702"/>
                    <a:pt x="202561" y="124488"/>
                  </a:cubicBezTo>
                  <a:lnTo>
                    <a:pt x="214063" y="124488"/>
                  </a:lnTo>
                  <a:cubicBezTo>
                    <a:pt x="214702" y="124488"/>
                    <a:pt x="215341" y="124488"/>
                    <a:pt x="215341" y="123849"/>
                  </a:cubicBezTo>
                  <a:lnTo>
                    <a:pt x="215341" y="133425"/>
                  </a:lnTo>
                  <a:cubicBezTo>
                    <a:pt x="215341" y="137256"/>
                    <a:pt x="217897" y="139809"/>
                    <a:pt x="221731" y="139809"/>
                  </a:cubicBezTo>
                  <a:lnTo>
                    <a:pt x="229398" y="139809"/>
                  </a:lnTo>
                  <a:cubicBezTo>
                    <a:pt x="233233" y="139809"/>
                    <a:pt x="235788" y="137256"/>
                    <a:pt x="235788" y="133425"/>
                  </a:cubicBezTo>
                  <a:cubicBezTo>
                    <a:pt x="235788" y="129595"/>
                    <a:pt x="233233" y="127041"/>
                    <a:pt x="229398" y="127041"/>
                  </a:cubicBezTo>
                  <a:lnTo>
                    <a:pt x="228120" y="127041"/>
                  </a:lnTo>
                  <a:lnTo>
                    <a:pt x="228120" y="12768"/>
                  </a:lnTo>
                  <a:close/>
                  <a:moveTo>
                    <a:pt x="189781" y="132787"/>
                  </a:moveTo>
                  <a:cubicBezTo>
                    <a:pt x="189142" y="135340"/>
                    <a:pt x="187225" y="137894"/>
                    <a:pt x="184669" y="139171"/>
                  </a:cubicBezTo>
                  <a:cubicBezTo>
                    <a:pt x="182113" y="140448"/>
                    <a:pt x="179557" y="141086"/>
                    <a:pt x="177001" y="140448"/>
                  </a:cubicBezTo>
                  <a:cubicBezTo>
                    <a:pt x="174445" y="139809"/>
                    <a:pt x="171889" y="137894"/>
                    <a:pt x="170611" y="135340"/>
                  </a:cubicBezTo>
                  <a:lnTo>
                    <a:pt x="145051" y="91929"/>
                  </a:lnTo>
                  <a:cubicBezTo>
                    <a:pt x="143134" y="88737"/>
                    <a:pt x="139300" y="88099"/>
                    <a:pt x="136105" y="89376"/>
                  </a:cubicBezTo>
                  <a:cubicBezTo>
                    <a:pt x="132910" y="90652"/>
                    <a:pt x="132271" y="95121"/>
                    <a:pt x="133549" y="98313"/>
                  </a:cubicBezTo>
                  <a:lnTo>
                    <a:pt x="159109" y="141724"/>
                  </a:lnTo>
                  <a:cubicBezTo>
                    <a:pt x="161665" y="146193"/>
                    <a:pt x="161665" y="152577"/>
                    <a:pt x="156553" y="155769"/>
                  </a:cubicBezTo>
                  <a:cubicBezTo>
                    <a:pt x="151441" y="158961"/>
                    <a:pt x="145051" y="157046"/>
                    <a:pt x="141856" y="151939"/>
                  </a:cubicBezTo>
                  <a:lnTo>
                    <a:pt x="132910" y="137256"/>
                  </a:lnTo>
                  <a:cubicBezTo>
                    <a:pt x="132910" y="137256"/>
                    <a:pt x="132910" y="137256"/>
                    <a:pt x="132910" y="136617"/>
                  </a:cubicBezTo>
                  <a:cubicBezTo>
                    <a:pt x="132910" y="136617"/>
                    <a:pt x="132910" y="136617"/>
                    <a:pt x="132910" y="136617"/>
                  </a:cubicBezTo>
                  <a:lnTo>
                    <a:pt x="120769" y="115550"/>
                  </a:lnTo>
                  <a:cubicBezTo>
                    <a:pt x="120769" y="115550"/>
                    <a:pt x="120130" y="114912"/>
                    <a:pt x="120130" y="114912"/>
                  </a:cubicBezTo>
                  <a:lnTo>
                    <a:pt x="118214" y="111081"/>
                  </a:lnTo>
                  <a:cubicBezTo>
                    <a:pt x="116297" y="107889"/>
                    <a:pt x="112463" y="107251"/>
                    <a:pt x="109268" y="109166"/>
                  </a:cubicBezTo>
                  <a:cubicBezTo>
                    <a:pt x="106073" y="111081"/>
                    <a:pt x="105434" y="114912"/>
                    <a:pt x="107350" y="118104"/>
                  </a:cubicBezTo>
                  <a:lnTo>
                    <a:pt x="122686" y="143640"/>
                  </a:lnTo>
                  <a:cubicBezTo>
                    <a:pt x="125243" y="148747"/>
                    <a:pt x="123964" y="154492"/>
                    <a:pt x="118853" y="157684"/>
                  </a:cubicBezTo>
                  <a:cubicBezTo>
                    <a:pt x="116297" y="158961"/>
                    <a:pt x="113740" y="159600"/>
                    <a:pt x="111184" y="158961"/>
                  </a:cubicBezTo>
                  <a:cubicBezTo>
                    <a:pt x="108629" y="158323"/>
                    <a:pt x="106073" y="156408"/>
                    <a:pt x="104794" y="153854"/>
                  </a:cubicBezTo>
                  <a:cubicBezTo>
                    <a:pt x="104794" y="153854"/>
                    <a:pt x="104794" y="153854"/>
                    <a:pt x="104794" y="153854"/>
                  </a:cubicBezTo>
                  <a:lnTo>
                    <a:pt x="95849" y="139171"/>
                  </a:lnTo>
                  <a:cubicBezTo>
                    <a:pt x="95849" y="139171"/>
                    <a:pt x="95849" y="139171"/>
                    <a:pt x="95849" y="139171"/>
                  </a:cubicBezTo>
                  <a:cubicBezTo>
                    <a:pt x="95849" y="139171"/>
                    <a:pt x="95849" y="139171"/>
                    <a:pt x="95849" y="139171"/>
                  </a:cubicBezTo>
                  <a:lnTo>
                    <a:pt x="90098" y="130872"/>
                  </a:lnTo>
                  <a:cubicBezTo>
                    <a:pt x="88181" y="127680"/>
                    <a:pt x="84347" y="127041"/>
                    <a:pt x="81152" y="128956"/>
                  </a:cubicBezTo>
                  <a:cubicBezTo>
                    <a:pt x="77957" y="130872"/>
                    <a:pt x="77318" y="134702"/>
                    <a:pt x="79235" y="137894"/>
                  </a:cubicBezTo>
                  <a:lnTo>
                    <a:pt x="84986" y="146193"/>
                  </a:lnTo>
                  <a:cubicBezTo>
                    <a:pt x="86264" y="148747"/>
                    <a:pt x="86903" y="151300"/>
                    <a:pt x="86264" y="153854"/>
                  </a:cubicBezTo>
                  <a:cubicBezTo>
                    <a:pt x="85625" y="156408"/>
                    <a:pt x="84347" y="158323"/>
                    <a:pt x="81791" y="159600"/>
                  </a:cubicBezTo>
                  <a:cubicBezTo>
                    <a:pt x="79874" y="160876"/>
                    <a:pt x="76679" y="160876"/>
                    <a:pt x="74123" y="160238"/>
                  </a:cubicBezTo>
                  <a:cubicBezTo>
                    <a:pt x="71567" y="159600"/>
                    <a:pt x="69011" y="157684"/>
                    <a:pt x="67094" y="154492"/>
                  </a:cubicBezTo>
                  <a:lnTo>
                    <a:pt x="43451" y="114912"/>
                  </a:lnTo>
                  <a:cubicBezTo>
                    <a:pt x="42173" y="112996"/>
                    <a:pt x="40256" y="111720"/>
                    <a:pt x="37700" y="111720"/>
                  </a:cubicBezTo>
                  <a:lnTo>
                    <a:pt x="20447" y="111720"/>
                  </a:lnTo>
                  <a:lnTo>
                    <a:pt x="20447" y="37027"/>
                  </a:lnTo>
                  <a:lnTo>
                    <a:pt x="70928" y="37027"/>
                  </a:lnTo>
                  <a:lnTo>
                    <a:pt x="58787" y="43411"/>
                  </a:lnTo>
                  <a:cubicBezTo>
                    <a:pt x="51758" y="47241"/>
                    <a:pt x="47925" y="54264"/>
                    <a:pt x="47925" y="62563"/>
                  </a:cubicBezTo>
                  <a:cubicBezTo>
                    <a:pt x="47925" y="69585"/>
                    <a:pt x="50480" y="75969"/>
                    <a:pt x="55592" y="80438"/>
                  </a:cubicBezTo>
                  <a:cubicBezTo>
                    <a:pt x="60065" y="84268"/>
                    <a:pt x="65177" y="85545"/>
                    <a:pt x="71567" y="84907"/>
                  </a:cubicBezTo>
                  <a:lnTo>
                    <a:pt x="157831" y="70224"/>
                  </a:lnTo>
                  <a:lnTo>
                    <a:pt x="189142" y="125126"/>
                  </a:lnTo>
                  <a:cubicBezTo>
                    <a:pt x="189781" y="127680"/>
                    <a:pt x="190420" y="130233"/>
                    <a:pt x="189781" y="132787"/>
                  </a:cubicBezTo>
                  <a:close/>
                  <a:moveTo>
                    <a:pt x="213423" y="111720"/>
                  </a:moveTo>
                  <a:lnTo>
                    <a:pt x="197448" y="111720"/>
                  </a:lnTo>
                  <a:cubicBezTo>
                    <a:pt x="196810" y="111720"/>
                    <a:pt x="196171" y="111720"/>
                    <a:pt x="195532" y="112358"/>
                  </a:cubicBezTo>
                  <a:lnTo>
                    <a:pt x="166138" y="60009"/>
                  </a:lnTo>
                  <a:cubicBezTo>
                    <a:pt x="164860" y="57456"/>
                    <a:pt x="162304" y="56179"/>
                    <a:pt x="159748" y="56817"/>
                  </a:cubicBezTo>
                  <a:lnTo>
                    <a:pt x="69011" y="72139"/>
                  </a:lnTo>
                  <a:cubicBezTo>
                    <a:pt x="66455" y="72777"/>
                    <a:pt x="65177" y="72139"/>
                    <a:pt x="63260" y="70862"/>
                  </a:cubicBezTo>
                  <a:cubicBezTo>
                    <a:pt x="61343" y="68947"/>
                    <a:pt x="60065" y="65755"/>
                    <a:pt x="60065" y="62563"/>
                  </a:cubicBezTo>
                  <a:cubicBezTo>
                    <a:pt x="60065" y="59371"/>
                    <a:pt x="61982" y="56179"/>
                    <a:pt x="64538" y="54902"/>
                  </a:cubicBezTo>
                  <a:lnTo>
                    <a:pt x="125881" y="21705"/>
                  </a:lnTo>
                  <a:lnTo>
                    <a:pt x="178918" y="37027"/>
                  </a:lnTo>
                  <a:cubicBezTo>
                    <a:pt x="179557" y="37027"/>
                    <a:pt x="180196" y="37027"/>
                    <a:pt x="180835" y="37027"/>
                  </a:cubicBezTo>
                  <a:lnTo>
                    <a:pt x="214063" y="37027"/>
                  </a:lnTo>
                  <a:lnTo>
                    <a:pt x="214063" y="112358"/>
                  </a:lnTo>
                  <a:cubicBezTo>
                    <a:pt x="214702" y="111720"/>
                    <a:pt x="214063" y="111720"/>
                    <a:pt x="213423" y="111720"/>
                  </a:cubicBezTo>
                  <a:close/>
                </a:path>
              </a:pathLst>
            </a:custGeom>
            <a:grpFill/>
            <a:ln w="6390" cap="flat">
              <a:noFill/>
              <a:prstDash val="solid"/>
              <a:miter/>
            </a:ln>
          </p:spPr>
          <p:txBody>
            <a:bodyPr rtlCol="0" anchor="ctr"/>
            <a:lstStyle/>
            <a:p>
              <a:endParaRPr lang="en-US"/>
            </a:p>
          </p:txBody>
        </p:sp>
      </p:grpSp>
      <p:grpSp>
        <p:nvGrpSpPr>
          <p:cNvPr id="83" name="Graphic 1100">
            <a:extLst>
              <a:ext uri="{FF2B5EF4-FFF2-40B4-BE49-F238E27FC236}">
                <a16:creationId xmlns:a16="http://schemas.microsoft.com/office/drawing/2014/main" id="{C831D8B8-776A-D882-45B2-FD241FBD5821}"/>
              </a:ext>
            </a:extLst>
          </p:cNvPr>
          <p:cNvGrpSpPr/>
          <p:nvPr/>
        </p:nvGrpSpPr>
        <p:grpSpPr>
          <a:xfrm>
            <a:off x="9159908" y="2416515"/>
            <a:ext cx="521208" cy="521208"/>
            <a:chOff x="2560447" y="2859711"/>
            <a:chExt cx="362309" cy="361971"/>
          </a:xfrm>
          <a:solidFill>
            <a:schemeClr val="accent5"/>
          </a:solidFill>
        </p:grpSpPr>
        <p:sp>
          <p:nvSpPr>
            <p:cNvPr id="84" name="Graphic 1100">
              <a:extLst>
                <a:ext uri="{FF2B5EF4-FFF2-40B4-BE49-F238E27FC236}">
                  <a16:creationId xmlns:a16="http://schemas.microsoft.com/office/drawing/2014/main" id="{04E3AAE4-FB99-FA0B-7B6A-321575B0F1C2}"/>
                </a:ext>
              </a:extLst>
            </p:cNvPr>
            <p:cNvSpPr/>
            <p:nvPr/>
          </p:nvSpPr>
          <p:spPr>
            <a:xfrm>
              <a:off x="2560447" y="2859711"/>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6"/>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6"/>
                    <a:pt x="281157" y="0"/>
                    <a:pt x="181474" y="0"/>
                  </a:cubicBezTo>
                  <a:close/>
                  <a:moveTo>
                    <a:pt x="181474" y="349204"/>
                  </a:moveTo>
                  <a:cubicBezTo>
                    <a:pt x="88181" y="349204"/>
                    <a:pt x="12780" y="273873"/>
                    <a:pt x="12780" y="181305"/>
                  </a:cubicBezTo>
                  <a:cubicBezTo>
                    <a:pt x="12780" y="88737"/>
                    <a:pt x="88181" y="12768"/>
                    <a:pt x="180835" y="12768"/>
                  </a:cubicBezTo>
                  <a:cubicBezTo>
                    <a:pt x="274128" y="12768"/>
                    <a:pt x="349529" y="88099"/>
                    <a:pt x="349529" y="180667"/>
                  </a:cubicBezTo>
                  <a:cubicBezTo>
                    <a:pt x="349529" y="180667"/>
                    <a:pt x="349529" y="180667"/>
                    <a:pt x="349529" y="180667"/>
                  </a:cubicBezTo>
                  <a:cubicBezTo>
                    <a:pt x="349529" y="273234"/>
                    <a:pt x="274128" y="348565"/>
                    <a:pt x="181474" y="349204"/>
                  </a:cubicBezTo>
                  <a:close/>
                </a:path>
              </a:pathLst>
            </a:custGeom>
            <a:grpFill/>
            <a:ln w="6390" cap="flat">
              <a:noFill/>
              <a:prstDash val="solid"/>
              <a:miter/>
            </a:ln>
          </p:spPr>
          <p:txBody>
            <a:bodyPr rtlCol="0" anchor="ctr"/>
            <a:lstStyle/>
            <a:p>
              <a:endParaRPr lang="en-US"/>
            </a:p>
          </p:txBody>
        </p:sp>
        <p:sp>
          <p:nvSpPr>
            <p:cNvPr id="85" name="Graphic 1100">
              <a:extLst>
                <a:ext uri="{FF2B5EF4-FFF2-40B4-BE49-F238E27FC236}">
                  <a16:creationId xmlns:a16="http://schemas.microsoft.com/office/drawing/2014/main" id="{FACD86B4-FD45-AFBB-6DA8-49CF8E445345}"/>
                </a:ext>
              </a:extLst>
            </p:cNvPr>
            <p:cNvSpPr/>
            <p:nvPr/>
          </p:nvSpPr>
          <p:spPr>
            <a:xfrm>
              <a:off x="2647350" y="2931850"/>
              <a:ext cx="188503" cy="217055"/>
            </a:xfrm>
            <a:custGeom>
              <a:avLst/>
              <a:gdLst>
                <a:gd name="connsiteX0" fmla="*/ 182113 w 188503"/>
                <a:gd name="connsiteY0" fmla="*/ 638 h 217055"/>
                <a:gd name="connsiteX1" fmla="*/ 6390 w 188503"/>
                <a:gd name="connsiteY1" fmla="*/ 0 h 217055"/>
                <a:gd name="connsiteX2" fmla="*/ 6390 w 188503"/>
                <a:gd name="connsiteY2" fmla="*/ 0 h 217055"/>
                <a:gd name="connsiteX3" fmla="*/ 0 w 188503"/>
                <a:gd name="connsiteY3" fmla="*/ 6384 h 217055"/>
                <a:gd name="connsiteX4" fmla="*/ 0 w 188503"/>
                <a:gd name="connsiteY4" fmla="*/ 210671 h 217055"/>
                <a:gd name="connsiteX5" fmla="*/ 6390 w 188503"/>
                <a:gd name="connsiteY5" fmla="*/ 217055 h 217055"/>
                <a:gd name="connsiteX6" fmla="*/ 182113 w 188503"/>
                <a:gd name="connsiteY6" fmla="*/ 217055 h 217055"/>
                <a:gd name="connsiteX7" fmla="*/ 188503 w 188503"/>
                <a:gd name="connsiteY7" fmla="*/ 210671 h 217055"/>
                <a:gd name="connsiteX8" fmla="*/ 188503 w 188503"/>
                <a:gd name="connsiteY8" fmla="*/ 7022 h 217055"/>
                <a:gd name="connsiteX9" fmla="*/ 182113 w 188503"/>
                <a:gd name="connsiteY9" fmla="*/ 638 h 217055"/>
                <a:gd name="connsiteX10" fmla="*/ 12780 w 188503"/>
                <a:gd name="connsiteY10" fmla="*/ 81077 h 217055"/>
                <a:gd name="connsiteX11" fmla="*/ 175723 w 188503"/>
                <a:gd name="connsiteY11" fmla="*/ 81077 h 217055"/>
                <a:gd name="connsiteX12" fmla="*/ 175723 w 188503"/>
                <a:gd name="connsiteY12" fmla="*/ 136617 h 217055"/>
                <a:gd name="connsiteX13" fmla="*/ 12780 w 188503"/>
                <a:gd name="connsiteY13" fmla="*/ 136617 h 217055"/>
                <a:gd name="connsiteX14" fmla="*/ 12780 w 188503"/>
                <a:gd name="connsiteY14" fmla="*/ 81077 h 217055"/>
                <a:gd name="connsiteX15" fmla="*/ 33867 w 188503"/>
                <a:gd name="connsiteY15" fmla="*/ 12768 h 217055"/>
                <a:gd name="connsiteX16" fmla="*/ 175723 w 188503"/>
                <a:gd name="connsiteY16" fmla="*/ 13406 h 217055"/>
                <a:gd name="connsiteX17" fmla="*/ 175723 w 188503"/>
                <a:gd name="connsiteY17" fmla="*/ 68309 h 217055"/>
                <a:gd name="connsiteX18" fmla="*/ 12780 w 188503"/>
                <a:gd name="connsiteY18" fmla="*/ 68309 h 217055"/>
                <a:gd name="connsiteX19" fmla="*/ 12780 w 188503"/>
                <a:gd name="connsiteY19" fmla="*/ 12768 h 217055"/>
                <a:gd name="connsiteX20" fmla="*/ 33867 w 188503"/>
                <a:gd name="connsiteY20" fmla="*/ 12768 h 217055"/>
                <a:gd name="connsiteX21" fmla="*/ 12780 w 188503"/>
                <a:gd name="connsiteY21" fmla="*/ 204287 h 217055"/>
                <a:gd name="connsiteX22" fmla="*/ 12780 w 188503"/>
                <a:gd name="connsiteY22" fmla="*/ 148747 h 217055"/>
                <a:gd name="connsiteX23" fmla="*/ 175723 w 188503"/>
                <a:gd name="connsiteY23" fmla="*/ 148747 h 217055"/>
                <a:gd name="connsiteX24" fmla="*/ 175723 w 188503"/>
                <a:gd name="connsiteY24" fmla="*/ 204287 h 217055"/>
                <a:gd name="connsiteX25" fmla="*/ 12780 w 188503"/>
                <a:gd name="connsiteY25" fmla="*/ 204287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503" h="217055">
                  <a:moveTo>
                    <a:pt x="182113" y="638"/>
                  </a:moveTo>
                  <a:lnTo>
                    <a:pt x="6390" y="0"/>
                  </a:lnTo>
                  <a:lnTo>
                    <a:pt x="6390" y="0"/>
                  </a:lnTo>
                  <a:cubicBezTo>
                    <a:pt x="2556" y="0"/>
                    <a:pt x="0" y="2554"/>
                    <a:pt x="0" y="6384"/>
                  </a:cubicBezTo>
                  <a:lnTo>
                    <a:pt x="0" y="210671"/>
                  </a:lnTo>
                  <a:cubicBezTo>
                    <a:pt x="0" y="214502"/>
                    <a:pt x="2556" y="217055"/>
                    <a:pt x="6390" y="217055"/>
                  </a:cubicBezTo>
                  <a:lnTo>
                    <a:pt x="182113" y="217055"/>
                  </a:lnTo>
                  <a:cubicBezTo>
                    <a:pt x="185947" y="217055"/>
                    <a:pt x="188503" y="214502"/>
                    <a:pt x="188503" y="210671"/>
                  </a:cubicBezTo>
                  <a:lnTo>
                    <a:pt x="188503" y="7022"/>
                  </a:lnTo>
                  <a:cubicBezTo>
                    <a:pt x="188503" y="3830"/>
                    <a:pt x="185947" y="638"/>
                    <a:pt x="182113" y="638"/>
                  </a:cubicBezTo>
                  <a:close/>
                  <a:moveTo>
                    <a:pt x="12780" y="81077"/>
                  </a:moveTo>
                  <a:lnTo>
                    <a:pt x="175723" y="81077"/>
                  </a:lnTo>
                  <a:lnTo>
                    <a:pt x="175723" y="136617"/>
                  </a:lnTo>
                  <a:lnTo>
                    <a:pt x="12780" y="136617"/>
                  </a:lnTo>
                  <a:lnTo>
                    <a:pt x="12780" y="81077"/>
                  </a:lnTo>
                  <a:close/>
                  <a:moveTo>
                    <a:pt x="33867" y="12768"/>
                  </a:moveTo>
                  <a:lnTo>
                    <a:pt x="175723" y="13406"/>
                  </a:lnTo>
                  <a:lnTo>
                    <a:pt x="175723" y="68309"/>
                  </a:lnTo>
                  <a:lnTo>
                    <a:pt x="12780" y="68309"/>
                  </a:lnTo>
                  <a:lnTo>
                    <a:pt x="12780" y="12768"/>
                  </a:lnTo>
                  <a:cubicBezTo>
                    <a:pt x="17892" y="12768"/>
                    <a:pt x="24282" y="12768"/>
                    <a:pt x="33867" y="12768"/>
                  </a:cubicBezTo>
                  <a:close/>
                  <a:moveTo>
                    <a:pt x="12780" y="204287"/>
                  </a:moveTo>
                  <a:lnTo>
                    <a:pt x="12780" y="148747"/>
                  </a:lnTo>
                  <a:lnTo>
                    <a:pt x="175723" y="148747"/>
                  </a:lnTo>
                  <a:lnTo>
                    <a:pt x="175723" y="204287"/>
                  </a:lnTo>
                  <a:lnTo>
                    <a:pt x="12780" y="204287"/>
                  </a:lnTo>
                  <a:close/>
                </a:path>
              </a:pathLst>
            </a:custGeom>
            <a:grpFill/>
            <a:ln w="6390" cap="flat">
              <a:noFill/>
              <a:prstDash val="solid"/>
              <a:miter/>
            </a:ln>
          </p:spPr>
          <p:txBody>
            <a:bodyPr rtlCol="0" anchor="ctr"/>
            <a:lstStyle/>
            <a:p>
              <a:endParaRPr lang="en-US"/>
            </a:p>
          </p:txBody>
        </p:sp>
        <p:sp>
          <p:nvSpPr>
            <p:cNvPr id="86" name="Graphic 1100">
              <a:extLst>
                <a:ext uri="{FF2B5EF4-FFF2-40B4-BE49-F238E27FC236}">
                  <a16:creationId xmlns:a16="http://schemas.microsoft.com/office/drawing/2014/main" id="{9BA724E5-6822-8A25-3A31-89D5C28EBF51}"/>
                </a:ext>
              </a:extLst>
            </p:cNvPr>
            <p:cNvSpPr/>
            <p:nvPr/>
          </p:nvSpPr>
          <p:spPr>
            <a:xfrm>
              <a:off x="2789846" y="3032079"/>
              <a:ext cx="16613" cy="16598"/>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 name="connsiteX6" fmla="*/ 8307 w 16613"/>
                <a:gd name="connsiteY6"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87" name="Graphic 1100">
              <a:extLst>
                <a:ext uri="{FF2B5EF4-FFF2-40B4-BE49-F238E27FC236}">
                  <a16:creationId xmlns:a16="http://schemas.microsoft.com/office/drawing/2014/main" id="{FE405AEE-D237-AC66-83C9-91285CF0BF80}"/>
                </a:ext>
              </a:extLst>
            </p:cNvPr>
            <p:cNvSpPr/>
            <p:nvPr/>
          </p:nvSpPr>
          <p:spPr>
            <a:xfrm>
              <a:off x="2759813" y="3032079"/>
              <a:ext cx="16613" cy="16598"/>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lose/>
                </a:path>
              </a:pathLst>
            </a:custGeom>
            <a:grpFill/>
            <a:ln w="6390" cap="flat">
              <a:noFill/>
              <a:prstDash val="solid"/>
              <a:miter/>
            </a:ln>
          </p:spPr>
          <p:txBody>
            <a:bodyPr rtlCol="0" anchor="ctr"/>
            <a:lstStyle/>
            <a:p>
              <a:endParaRPr lang="en-US"/>
            </a:p>
          </p:txBody>
        </p:sp>
        <p:sp>
          <p:nvSpPr>
            <p:cNvPr id="88" name="Graphic 1100">
              <a:extLst>
                <a:ext uri="{FF2B5EF4-FFF2-40B4-BE49-F238E27FC236}">
                  <a16:creationId xmlns:a16="http://schemas.microsoft.com/office/drawing/2014/main" id="{5AD02EEC-85B6-16F1-A4A2-CA25407260A5}"/>
                </a:ext>
              </a:extLst>
            </p:cNvPr>
            <p:cNvSpPr/>
            <p:nvPr/>
          </p:nvSpPr>
          <p:spPr>
            <a:xfrm>
              <a:off x="2674827" y="3033994"/>
              <a:ext cx="71567" cy="12767"/>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89" name="Graphic 1100">
              <a:extLst>
                <a:ext uri="{FF2B5EF4-FFF2-40B4-BE49-F238E27FC236}">
                  <a16:creationId xmlns:a16="http://schemas.microsoft.com/office/drawing/2014/main" id="{5223AE86-5CD0-5EDE-31C5-C06125CA6D0A}"/>
                </a:ext>
              </a:extLst>
            </p:cNvPr>
            <p:cNvSpPr/>
            <p:nvPr/>
          </p:nvSpPr>
          <p:spPr>
            <a:xfrm>
              <a:off x="2789846" y="3102303"/>
              <a:ext cx="16613" cy="16598"/>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192"/>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90" name="Graphic 1100">
              <a:extLst>
                <a:ext uri="{FF2B5EF4-FFF2-40B4-BE49-F238E27FC236}">
                  <a16:creationId xmlns:a16="http://schemas.microsoft.com/office/drawing/2014/main" id="{E3F0FB40-6B81-11DB-F414-CFB5DB486C4E}"/>
                </a:ext>
              </a:extLst>
            </p:cNvPr>
            <p:cNvSpPr/>
            <p:nvPr/>
          </p:nvSpPr>
          <p:spPr>
            <a:xfrm>
              <a:off x="2760382" y="3102303"/>
              <a:ext cx="16044" cy="16029"/>
            </a:xfrm>
            <a:custGeom>
              <a:avLst/>
              <a:gdLst>
                <a:gd name="connsiteX0" fmla="*/ 7738 w 16044"/>
                <a:gd name="connsiteY0" fmla="*/ 0 h 16029"/>
                <a:gd name="connsiteX1" fmla="*/ 70 w 16044"/>
                <a:gd name="connsiteY1" fmla="*/ 8299 h 16029"/>
                <a:gd name="connsiteX2" fmla="*/ 8377 w 16044"/>
                <a:gd name="connsiteY2" fmla="*/ 15960 h 16029"/>
                <a:gd name="connsiteX3" fmla="*/ 16045 w 16044"/>
                <a:gd name="connsiteY3" fmla="*/ 7661 h 16029"/>
                <a:gd name="connsiteX4" fmla="*/ 7738 w 16044"/>
                <a:gd name="connsiteY4" fmla="*/ 0 h 1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44" h="16029">
                  <a:moveTo>
                    <a:pt x="7738" y="0"/>
                  </a:moveTo>
                  <a:cubicBezTo>
                    <a:pt x="3265" y="0"/>
                    <a:pt x="-569" y="3830"/>
                    <a:pt x="70" y="8299"/>
                  </a:cubicBezTo>
                  <a:cubicBezTo>
                    <a:pt x="709" y="12768"/>
                    <a:pt x="3904" y="16598"/>
                    <a:pt x="8377" y="15960"/>
                  </a:cubicBezTo>
                  <a:cubicBezTo>
                    <a:pt x="12850" y="15960"/>
                    <a:pt x="16045" y="12130"/>
                    <a:pt x="16045" y="7661"/>
                  </a:cubicBezTo>
                  <a:cubicBezTo>
                    <a:pt x="16045" y="3192"/>
                    <a:pt x="12211" y="0"/>
                    <a:pt x="7738" y="0"/>
                  </a:cubicBezTo>
                  <a:close/>
                </a:path>
              </a:pathLst>
            </a:custGeom>
            <a:grpFill/>
            <a:ln w="6390" cap="flat">
              <a:noFill/>
              <a:prstDash val="solid"/>
              <a:miter/>
            </a:ln>
          </p:spPr>
          <p:txBody>
            <a:bodyPr rtlCol="0" anchor="ctr"/>
            <a:lstStyle/>
            <a:p>
              <a:endParaRPr lang="en-US"/>
            </a:p>
          </p:txBody>
        </p:sp>
        <p:sp>
          <p:nvSpPr>
            <p:cNvPr id="91" name="Graphic 1100">
              <a:extLst>
                <a:ext uri="{FF2B5EF4-FFF2-40B4-BE49-F238E27FC236}">
                  <a16:creationId xmlns:a16="http://schemas.microsoft.com/office/drawing/2014/main" id="{BA6A4712-1D63-B9DD-7832-2DBAF7920A0A}"/>
                </a:ext>
              </a:extLst>
            </p:cNvPr>
            <p:cNvSpPr/>
            <p:nvPr/>
          </p:nvSpPr>
          <p:spPr>
            <a:xfrm>
              <a:off x="2674827" y="3103579"/>
              <a:ext cx="71567" cy="12767"/>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92" name="Graphic 1100">
              <a:extLst>
                <a:ext uri="{FF2B5EF4-FFF2-40B4-BE49-F238E27FC236}">
                  <a16:creationId xmlns:a16="http://schemas.microsoft.com/office/drawing/2014/main" id="{AEDB492E-2074-F6C9-23D7-CB733E415339}"/>
                </a:ext>
              </a:extLst>
            </p:cNvPr>
            <p:cNvSpPr/>
            <p:nvPr/>
          </p:nvSpPr>
          <p:spPr>
            <a:xfrm>
              <a:off x="2789846" y="2963770"/>
              <a:ext cx="16613" cy="16598"/>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639" y="13406"/>
                    <a:pt x="3834" y="16598"/>
                    <a:pt x="8307" y="16598"/>
                  </a:cubicBezTo>
                  <a:close/>
                </a:path>
              </a:pathLst>
            </a:custGeom>
            <a:grpFill/>
            <a:ln w="6390" cap="flat">
              <a:noFill/>
              <a:prstDash val="solid"/>
              <a:miter/>
            </a:ln>
          </p:spPr>
          <p:txBody>
            <a:bodyPr rtlCol="0" anchor="ctr"/>
            <a:lstStyle/>
            <a:p>
              <a:endParaRPr lang="en-US"/>
            </a:p>
          </p:txBody>
        </p:sp>
        <p:sp>
          <p:nvSpPr>
            <p:cNvPr id="93" name="Graphic 1100">
              <a:extLst>
                <a:ext uri="{FF2B5EF4-FFF2-40B4-BE49-F238E27FC236}">
                  <a16:creationId xmlns:a16="http://schemas.microsoft.com/office/drawing/2014/main" id="{68195CD6-46AF-1909-2A7C-0E37C3B115C8}"/>
                </a:ext>
              </a:extLst>
            </p:cNvPr>
            <p:cNvSpPr/>
            <p:nvPr/>
          </p:nvSpPr>
          <p:spPr>
            <a:xfrm>
              <a:off x="2759813" y="2963770"/>
              <a:ext cx="16613" cy="16598"/>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13406"/>
                    <a:pt x="3834" y="16598"/>
                    <a:pt x="8307" y="16598"/>
                  </a:cubicBezTo>
                  <a:close/>
                </a:path>
              </a:pathLst>
            </a:custGeom>
            <a:grpFill/>
            <a:ln w="6390" cap="flat">
              <a:noFill/>
              <a:prstDash val="solid"/>
              <a:miter/>
            </a:ln>
          </p:spPr>
          <p:txBody>
            <a:bodyPr rtlCol="0" anchor="ctr"/>
            <a:lstStyle/>
            <a:p>
              <a:endParaRPr lang="en-US"/>
            </a:p>
          </p:txBody>
        </p:sp>
        <p:sp>
          <p:nvSpPr>
            <p:cNvPr id="94" name="Graphic 1100">
              <a:extLst>
                <a:ext uri="{FF2B5EF4-FFF2-40B4-BE49-F238E27FC236}">
                  <a16:creationId xmlns:a16="http://schemas.microsoft.com/office/drawing/2014/main" id="{9BBF951D-EA60-3821-B02E-AC54C9292647}"/>
                </a:ext>
              </a:extLst>
            </p:cNvPr>
            <p:cNvSpPr/>
            <p:nvPr/>
          </p:nvSpPr>
          <p:spPr>
            <a:xfrm>
              <a:off x="2674188" y="2966324"/>
              <a:ext cx="71567" cy="12767"/>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a:p>
          </p:txBody>
        </p:sp>
      </p:grpSp>
      <p:sp>
        <p:nvSpPr>
          <p:cNvPr id="97" name="Rectangle 96">
            <a:extLst>
              <a:ext uri="{FF2B5EF4-FFF2-40B4-BE49-F238E27FC236}">
                <a16:creationId xmlns:a16="http://schemas.microsoft.com/office/drawing/2014/main" id="{F0A6F163-4635-19BA-2A7E-48BDBA0E8455}"/>
              </a:ext>
            </a:extLst>
          </p:cNvPr>
          <p:cNvSpPr/>
          <p:nvPr/>
        </p:nvSpPr>
        <p:spPr bwMode="gray">
          <a:xfrm>
            <a:off x="0" y="1377827"/>
            <a:ext cx="12192000" cy="792035"/>
          </a:xfrm>
          <a:prstGeom prst="rect">
            <a:avLst/>
          </a:prstGeom>
          <a:solidFill>
            <a:srgbClr val="0097A9"/>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2" name="Text Placeholder 1">
            <a:extLst>
              <a:ext uri="{FF2B5EF4-FFF2-40B4-BE49-F238E27FC236}">
                <a16:creationId xmlns:a16="http://schemas.microsoft.com/office/drawing/2014/main" id="{278A531B-5DCF-68FC-8AFB-5629BCA774FF}"/>
              </a:ext>
            </a:extLst>
          </p:cNvPr>
          <p:cNvSpPr>
            <a:spLocks noGrp="1"/>
          </p:cNvSpPr>
          <p:nvPr>
            <p:ph type="body" sz="quarter" idx="14"/>
          </p:nvPr>
        </p:nvSpPr>
        <p:spPr>
          <a:xfrm>
            <a:off x="469900" y="1450452"/>
            <a:ext cx="11252200" cy="646785"/>
          </a:xfrm>
        </p:spPr>
        <p:txBody>
          <a:bodyPr/>
          <a:lstStyle/>
          <a:p>
            <a:r>
              <a:rPr lang="en-US" sz="1400" dirty="0">
                <a:solidFill>
                  <a:schemeClr val="bg1"/>
                </a:solidFill>
              </a:rPr>
              <a:t>The four delivery models differ by level of responsibility between IT and the business. Each model enables specific outcomes and shifts ownership – from more traditional IT offering predefined services to agile business application or product development teams accelerating time to market</a:t>
            </a:r>
          </a:p>
        </p:txBody>
      </p:sp>
      <p:cxnSp>
        <p:nvCxnSpPr>
          <p:cNvPr id="98" name="Straight Connector 97">
            <a:extLst>
              <a:ext uri="{FF2B5EF4-FFF2-40B4-BE49-F238E27FC236}">
                <a16:creationId xmlns:a16="http://schemas.microsoft.com/office/drawing/2014/main" id="{E51AD319-58D3-D82E-486F-5AAFEF61DBA1}"/>
              </a:ext>
            </a:extLst>
          </p:cNvPr>
          <p:cNvCxnSpPr>
            <a:cxnSpLocks/>
          </p:cNvCxnSpPr>
          <p:nvPr/>
        </p:nvCxnSpPr>
        <p:spPr>
          <a:xfrm>
            <a:off x="389467" y="1484436"/>
            <a:ext cx="0" cy="5941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0" name="Arrow: Right 99">
            <a:extLst>
              <a:ext uri="{FF2B5EF4-FFF2-40B4-BE49-F238E27FC236}">
                <a16:creationId xmlns:a16="http://schemas.microsoft.com/office/drawing/2014/main" id="{F1AF755D-DC3C-B95A-3A12-7481DE5C7FEB}"/>
              </a:ext>
            </a:extLst>
          </p:cNvPr>
          <p:cNvSpPr/>
          <p:nvPr/>
        </p:nvSpPr>
        <p:spPr>
          <a:xfrm>
            <a:off x="469900" y="5759697"/>
            <a:ext cx="11281792" cy="539503"/>
          </a:xfrm>
          <a:prstGeom prst="rightArrow">
            <a:avLst>
              <a:gd name="adj1" fmla="val 50000"/>
              <a:gd name="adj2" fmla="val 53320"/>
            </a:avLst>
          </a:prstGeom>
          <a:solidFill>
            <a:srgbClr val="0097A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Open Sans"/>
              <a:ea typeface="+mn-ea"/>
              <a:cs typeface="+mn-cs"/>
            </a:endParaRPr>
          </a:p>
        </p:txBody>
      </p:sp>
      <p:sp>
        <p:nvSpPr>
          <p:cNvPr id="102" name="Rectangle 101">
            <a:extLst>
              <a:ext uri="{FF2B5EF4-FFF2-40B4-BE49-F238E27FC236}">
                <a16:creationId xmlns:a16="http://schemas.microsoft.com/office/drawing/2014/main" id="{42F804E3-BFBF-0DE1-80A3-748C1850978E}"/>
              </a:ext>
            </a:extLst>
          </p:cNvPr>
          <p:cNvSpPr/>
          <p:nvPr/>
        </p:nvSpPr>
        <p:spPr>
          <a:xfrm>
            <a:off x="4327313" y="5898780"/>
            <a:ext cx="3927075" cy="261336"/>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srgbClr val="FFFFFF"/>
                </a:solidFill>
                <a:effectLst/>
                <a:uLnTx/>
                <a:uFillTx/>
                <a:latin typeface="Open Sans"/>
                <a:ea typeface="+mn-ea"/>
                <a:cs typeface="+mn-cs"/>
              </a:rPr>
              <a:t>Shifting accountability to business or product teams</a:t>
            </a:r>
          </a:p>
        </p:txBody>
      </p:sp>
      <p:sp>
        <p:nvSpPr>
          <p:cNvPr id="10" name="TextBox 9">
            <a:extLst>
              <a:ext uri="{FF2B5EF4-FFF2-40B4-BE49-F238E27FC236}">
                <a16:creationId xmlns:a16="http://schemas.microsoft.com/office/drawing/2014/main" id="{6ADD41ED-7480-5C58-0565-5300AC556134}"/>
              </a:ext>
            </a:extLst>
          </p:cNvPr>
          <p:cNvSpPr txBox="1"/>
          <p:nvPr/>
        </p:nvSpPr>
        <p:spPr>
          <a:xfrm>
            <a:off x="573534" y="3372480"/>
            <a:ext cx="2433861" cy="1200329"/>
          </a:xfrm>
          <a:prstGeom prst="rect">
            <a:avLst/>
          </a:prstGeom>
          <a:noFill/>
        </p:spPr>
        <p:txBody>
          <a:bodyPr wrap="square" rtlCol="0">
            <a:spAutoFit/>
          </a:bodyPr>
          <a:lstStyle>
            <a:defPPr>
              <a:defRPr lang="en-US"/>
            </a:defPPr>
            <a:lvl1pPr>
              <a:defRPr b="1">
                <a:solidFill>
                  <a:schemeClr val="tx1">
                    <a:lumMod val="75000"/>
                    <a:lumOff val="25000"/>
                  </a:schemeClr>
                </a:solidFill>
                <a:cs typeface="Sakkal Majalla" panose="02000000000000000000" pitchFamily="2" charset="-78"/>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all" spc="150" normalizeH="0" baseline="0" noProof="0" dirty="0">
                <a:ln>
                  <a:noFill/>
                </a:ln>
                <a:solidFill>
                  <a:srgbClr val="000000"/>
                </a:solidFill>
                <a:effectLst/>
                <a:uLnTx/>
                <a:uFillTx/>
                <a:latin typeface="Open Sans"/>
                <a:ea typeface="+mn-ea"/>
                <a:cs typeface="+mn-cs"/>
              </a:rPr>
              <a:t>OPTIMIZE </a:t>
            </a:r>
            <a:r>
              <a:rPr kumimoji="0" lang="en-US" sz="1200" b="0" i="0" u="none" strike="noStrike" kern="0" cap="none" spc="0" normalizeH="0" baseline="0" noProof="0" dirty="0">
                <a:ln>
                  <a:noFill/>
                </a:ln>
                <a:solidFill>
                  <a:srgbClr val="000000"/>
                </a:solidFill>
                <a:effectLst/>
                <a:uLnTx/>
                <a:uFillTx/>
                <a:latin typeface="Open Sans"/>
                <a:ea typeface="+mn-ea"/>
                <a:cs typeface="+mn-cs"/>
              </a:rPr>
              <a:t>by combining core IT functions and services under the traditional “black box” model with central technology team, responsible for running the overall IT organization</a:t>
            </a:r>
            <a:endParaRPr kumimoji="0" lang="en-US" sz="1200" b="1" i="0" u="none" strike="noStrike" kern="0" cap="all" spc="150" normalizeH="0" baseline="0" noProof="0" dirty="0">
              <a:ln>
                <a:noFill/>
              </a:ln>
              <a:solidFill>
                <a:srgbClr val="000000"/>
              </a:solidFill>
              <a:effectLst/>
              <a:uLnTx/>
              <a:uFillTx/>
              <a:latin typeface="Open Sans"/>
              <a:ea typeface="+mn-ea"/>
              <a:cs typeface="+mn-cs"/>
            </a:endParaRPr>
          </a:p>
        </p:txBody>
      </p:sp>
      <p:sp>
        <p:nvSpPr>
          <p:cNvPr id="11" name="TextBox 10">
            <a:extLst>
              <a:ext uri="{FF2B5EF4-FFF2-40B4-BE49-F238E27FC236}">
                <a16:creationId xmlns:a16="http://schemas.microsoft.com/office/drawing/2014/main" id="{58F87A43-59AC-A385-6276-E4494D3F945A}"/>
              </a:ext>
            </a:extLst>
          </p:cNvPr>
          <p:cNvSpPr txBox="1"/>
          <p:nvPr/>
        </p:nvSpPr>
        <p:spPr>
          <a:xfrm>
            <a:off x="3388901" y="3372480"/>
            <a:ext cx="2465699" cy="1200329"/>
          </a:xfrm>
          <a:prstGeom prst="rect">
            <a:avLst/>
          </a:prstGeom>
          <a:noFill/>
        </p:spPr>
        <p:txBody>
          <a:bodyPr wrap="square" rtlCol="0">
            <a:spAutoFit/>
          </a:bodyPr>
          <a:lstStyle>
            <a:defPPr>
              <a:defRPr lang="en-US"/>
            </a:defPPr>
            <a:lvl1pPr>
              <a:defRPr b="1">
                <a:solidFill>
                  <a:schemeClr val="tx1">
                    <a:lumMod val="75000"/>
                    <a:lumOff val="25000"/>
                  </a:schemeClr>
                </a:solidFill>
                <a:cs typeface="Sakkal Majalla" panose="02000000000000000000" pitchFamily="2" charset="-78"/>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all" spc="150" normalizeH="0" baseline="0" noProof="0" dirty="0">
                <a:ln>
                  <a:noFill/>
                </a:ln>
                <a:solidFill>
                  <a:srgbClr val="000000"/>
                </a:solidFill>
                <a:effectLst/>
                <a:uLnTx/>
                <a:uFillTx/>
                <a:latin typeface="Open Sans"/>
                <a:ea typeface="+mn-ea"/>
                <a:cs typeface="+mn-cs"/>
              </a:rPr>
              <a:t>Actualize BUSINESS VALUE </a:t>
            </a:r>
            <a:r>
              <a:rPr kumimoji="0" lang="en-US" sz="1200" b="0" i="0" u="none" strike="noStrike" kern="0" cap="none" spc="0" normalizeH="0" baseline="0" noProof="0" dirty="0">
                <a:ln>
                  <a:noFill/>
                </a:ln>
                <a:solidFill>
                  <a:srgbClr val="000000"/>
                </a:solidFill>
                <a:effectLst/>
                <a:uLnTx/>
                <a:uFillTx/>
                <a:latin typeface="Open Sans"/>
                <a:ea typeface="+mn-ea"/>
                <a:cs typeface="+mn-cs"/>
              </a:rPr>
              <a:t>by minimizing bureaucracy and adopting an agile, product centric mindset to shift daily management of cloud services to LOBs</a:t>
            </a:r>
            <a:endParaRPr kumimoji="0" lang="en-US" sz="1200" b="1" i="0" u="none" strike="noStrike" kern="0" cap="all" spc="150" normalizeH="0" baseline="0" noProof="0" dirty="0">
              <a:ln>
                <a:noFill/>
              </a:ln>
              <a:solidFill>
                <a:srgbClr val="000000"/>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BFD171B7-B8B1-F4E4-FA7B-4F147ACF09C2}"/>
              </a:ext>
            </a:extLst>
          </p:cNvPr>
          <p:cNvSpPr txBox="1"/>
          <p:nvPr/>
        </p:nvSpPr>
        <p:spPr>
          <a:xfrm>
            <a:off x="6335793" y="3372480"/>
            <a:ext cx="2351315" cy="1569660"/>
          </a:xfrm>
          <a:prstGeom prst="rect">
            <a:avLst/>
          </a:prstGeom>
          <a:noFill/>
        </p:spPr>
        <p:txBody>
          <a:bodyPr wrap="square" rtlCol="0">
            <a:spAutoFit/>
          </a:bodyPr>
          <a:lstStyle>
            <a:defPPr>
              <a:defRPr lang="en-US"/>
            </a:defPPr>
            <a:lvl1pPr>
              <a:defRPr b="1">
                <a:solidFill>
                  <a:schemeClr val="tx1">
                    <a:lumMod val="75000"/>
                    <a:lumOff val="25000"/>
                  </a:schemeClr>
                </a:solidFill>
                <a:cs typeface="Sakkal Majalla" panose="02000000000000000000" pitchFamily="2" charset="-78"/>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all" spc="150" normalizeH="0" baseline="0" noProof="0" dirty="0">
                <a:ln>
                  <a:noFill/>
                </a:ln>
                <a:solidFill>
                  <a:srgbClr val="000000"/>
                </a:solidFill>
                <a:effectLst/>
                <a:uLnTx/>
                <a:uFillTx/>
                <a:latin typeface="Open Sans"/>
                <a:ea typeface="+mn-ea"/>
                <a:cs typeface="+mn-cs"/>
              </a:rPr>
              <a:t>ACCELERATE AGILITY </a:t>
            </a:r>
            <a:r>
              <a:rPr kumimoji="0" lang="en-US" sz="1200" b="0" i="0" u="none" strike="noStrike" kern="0" cap="none" spc="0" normalizeH="0" baseline="0" noProof="0" dirty="0">
                <a:ln>
                  <a:noFill/>
                </a:ln>
                <a:solidFill>
                  <a:srgbClr val="000000"/>
                </a:solidFill>
                <a:effectLst/>
                <a:uLnTx/>
                <a:uFillTx/>
                <a:latin typeface="Open Sans"/>
                <a:ea typeface="+mn-ea"/>
                <a:cs typeface="+mn-cs"/>
              </a:rPr>
              <a:t>by scaling modern technologies across LOBs with capabilities structured around cross-functional business application teams and governance from the central technology team</a:t>
            </a:r>
            <a:endParaRPr kumimoji="0" lang="en-US" sz="1200" b="1" i="0" u="none" strike="noStrike" kern="0" cap="all" spc="150" normalizeH="0" baseline="0" noProof="0" dirty="0">
              <a:ln>
                <a:noFill/>
              </a:ln>
              <a:solidFill>
                <a:srgbClr val="000000"/>
              </a:solidFill>
              <a:effectLst/>
              <a:uLnTx/>
              <a:uFillTx/>
              <a:latin typeface="Open Sans"/>
              <a:ea typeface="+mn-ea"/>
              <a:cs typeface="+mn-cs"/>
            </a:endParaRPr>
          </a:p>
        </p:txBody>
      </p:sp>
      <p:sp>
        <p:nvSpPr>
          <p:cNvPr id="13" name="TextBox 12">
            <a:extLst>
              <a:ext uri="{FF2B5EF4-FFF2-40B4-BE49-F238E27FC236}">
                <a16:creationId xmlns:a16="http://schemas.microsoft.com/office/drawing/2014/main" id="{39A4F7D9-79A4-2E14-0160-316FC52E1142}"/>
              </a:ext>
            </a:extLst>
          </p:cNvPr>
          <p:cNvSpPr txBox="1"/>
          <p:nvPr/>
        </p:nvSpPr>
        <p:spPr>
          <a:xfrm>
            <a:off x="9159908" y="3372480"/>
            <a:ext cx="2424071" cy="1384995"/>
          </a:xfrm>
          <a:prstGeom prst="rect">
            <a:avLst/>
          </a:prstGeom>
          <a:noFill/>
        </p:spPr>
        <p:txBody>
          <a:bodyPr wrap="square" rtlCol="0">
            <a:spAutoFit/>
          </a:bodyPr>
          <a:lstStyle>
            <a:defPPr>
              <a:defRPr lang="en-US"/>
            </a:defPPr>
            <a:lvl1pPr>
              <a:defRPr b="1">
                <a:solidFill>
                  <a:schemeClr val="tx1">
                    <a:lumMod val="75000"/>
                    <a:lumOff val="25000"/>
                  </a:schemeClr>
                </a:solidFill>
                <a:cs typeface="Sakkal Majalla" panose="02000000000000000000" pitchFamily="2" charset="-78"/>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all" spc="150" normalizeH="0" baseline="0" noProof="0" dirty="0">
                <a:ln>
                  <a:noFill/>
                </a:ln>
                <a:solidFill>
                  <a:srgbClr val="000000"/>
                </a:solidFill>
                <a:effectLst/>
                <a:uLnTx/>
                <a:uFillTx/>
                <a:latin typeface="Open Sans"/>
                <a:ea typeface="+mn-ea"/>
                <a:cs typeface="+mn-cs"/>
              </a:rPr>
              <a:t>EMPOWER BUSINESS DIFFERENTIATION </a:t>
            </a:r>
            <a:r>
              <a:rPr kumimoji="0" lang="en-US" sz="1200" b="0" i="0" u="none" strike="noStrike" kern="0" cap="none" spc="0" normalizeH="0" baseline="0" noProof="0" dirty="0">
                <a:ln>
                  <a:noFill/>
                </a:ln>
                <a:solidFill>
                  <a:srgbClr val="000000"/>
                </a:solidFill>
                <a:effectLst/>
                <a:uLnTx/>
                <a:uFillTx/>
                <a:latin typeface="Open Sans"/>
                <a:ea typeface="+mn-ea"/>
                <a:cs typeface="+mn-cs"/>
              </a:rPr>
              <a:t>by encouraging LOBs to be innovative and operationally autonomous with standards and guidelines from a lean central technology team</a:t>
            </a:r>
            <a:endParaRPr kumimoji="0" lang="en-US" sz="1200" b="1" i="0" u="none" strike="noStrike" kern="0" cap="all" spc="150" normalizeH="0" baseline="0" noProof="0" dirty="0">
              <a:ln>
                <a:noFill/>
              </a:ln>
              <a:solidFill>
                <a:srgbClr val="000000"/>
              </a:solidFill>
              <a:effectLst/>
              <a:uLnTx/>
              <a:uFillTx/>
              <a:latin typeface="Open Sans"/>
              <a:ea typeface="+mn-ea"/>
              <a:cs typeface="+mn-cs"/>
            </a:endParaRPr>
          </a:p>
        </p:txBody>
      </p:sp>
      <p:grpSp>
        <p:nvGrpSpPr>
          <p:cNvPr id="14" name="Group 13">
            <a:extLst>
              <a:ext uri="{FF2B5EF4-FFF2-40B4-BE49-F238E27FC236}">
                <a16:creationId xmlns:a16="http://schemas.microsoft.com/office/drawing/2014/main" id="{43D0DB24-5B17-D127-2E50-8D031FFCA868}"/>
              </a:ext>
            </a:extLst>
          </p:cNvPr>
          <p:cNvGrpSpPr/>
          <p:nvPr/>
        </p:nvGrpSpPr>
        <p:grpSpPr>
          <a:xfrm>
            <a:off x="1530114" y="5276570"/>
            <a:ext cx="520701" cy="114300"/>
            <a:chOff x="1038795" y="4752270"/>
            <a:chExt cx="520701" cy="114300"/>
          </a:xfrm>
          <a:solidFill>
            <a:schemeClr val="accent5">
              <a:lumMod val="75000"/>
            </a:schemeClr>
          </a:solidFill>
        </p:grpSpPr>
        <p:sp>
          <p:nvSpPr>
            <p:cNvPr id="49" name="Oval 48">
              <a:extLst>
                <a:ext uri="{FF2B5EF4-FFF2-40B4-BE49-F238E27FC236}">
                  <a16:creationId xmlns:a16="http://schemas.microsoft.com/office/drawing/2014/main" id="{93F6DC96-3D39-D720-786D-71E2A0324ECC}"/>
                </a:ext>
              </a:extLst>
            </p:cNvPr>
            <p:cNvSpPr/>
            <p:nvPr/>
          </p:nvSpPr>
          <p:spPr>
            <a:xfrm>
              <a:off x="1038795" y="475227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00E0560A-0F76-7213-DAED-B26C75BB0A23}"/>
                </a:ext>
              </a:extLst>
            </p:cNvPr>
            <p:cNvSpPr/>
            <p:nvPr/>
          </p:nvSpPr>
          <p:spPr>
            <a:xfrm>
              <a:off x="1237762" y="475227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0B0E8B5B-8ADA-AA07-0A7C-4D8DEB3E28A2}"/>
                </a:ext>
              </a:extLst>
            </p:cNvPr>
            <p:cNvSpPr/>
            <p:nvPr/>
          </p:nvSpPr>
          <p:spPr>
            <a:xfrm>
              <a:off x="1445196" y="475227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3D481451-24B8-1704-73D0-C8F642C2F638}"/>
              </a:ext>
            </a:extLst>
          </p:cNvPr>
          <p:cNvGrpSpPr/>
          <p:nvPr/>
        </p:nvGrpSpPr>
        <p:grpSpPr>
          <a:xfrm>
            <a:off x="4390607" y="5276570"/>
            <a:ext cx="520701" cy="114300"/>
            <a:chOff x="1038795" y="4752270"/>
            <a:chExt cx="520701" cy="114300"/>
          </a:xfrm>
          <a:solidFill>
            <a:schemeClr val="accent5">
              <a:lumMod val="75000"/>
            </a:schemeClr>
          </a:solidFill>
        </p:grpSpPr>
        <p:sp>
          <p:nvSpPr>
            <p:cNvPr id="46" name="Oval 45">
              <a:extLst>
                <a:ext uri="{FF2B5EF4-FFF2-40B4-BE49-F238E27FC236}">
                  <a16:creationId xmlns:a16="http://schemas.microsoft.com/office/drawing/2014/main" id="{B47CF1CC-99E8-386B-C754-9200762FB54E}"/>
                </a:ext>
              </a:extLst>
            </p:cNvPr>
            <p:cNvSpPr/>
            <p:nvPr/>
          </p:nvSpPr>
          <p:spPr>
            <a:xfrm>
              <a:off x="1038795" y="475227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13DD280D-6B9A-5F82-5285-C4DFD1BEE070}"/>
                </a:ext>
              </a:extLst>
            </p:cNvPr>
            <p:cNvSpPr/>
            <p:nvPr/>
          </p:nvSpPr>
          <p:spPr>
            <a:xfrm>
              <a:off x="1237762" y="475227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4CC75F42-050D-22CE-3A07-B25DED3D2B55}"/>
                </a:ext>
              </a:extLst>
            </p:cNvPr>
            <p:cNvSpPr/>
            <p:nvPr/>
          </p:nvSpPr>
          <p:spPr>
            <a:xfrm>
              <a:off x="1445196" y="475227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B8D3E925-F920-A09F-B39B-C948768EA0F6}"/>
              </a:ext>
            </a:extLst>
          </p:cNvPr>
          <p:cNvGrpSpPr/>
          <p:nvPr/>
        </p:nvGrpSpPr>
        <p:grpSpPr>
          <a:xfrm>
            <a:off x="7251100" y="5276570"/>
            <a:ext cx="520701" cy="114300"/>
            <a:chOff x="1038795" y="4752270"/>
            <a:chExt cx="520701" cy="114300"/>
          </a:xfrm>
          <a:solidFill>
            <a:schemeClr val="accent5">
              <a:lumMod val="75000"/>
            </a:schemeClr>
          </a:solidFill>
        </p:grpSpPr>
        <p:sp>
          <p:nvSpPr>
            <p:cNvPr id="43" name="Oval 42">
              <a:extLst>
                <a:ext uri="{FF2B5EF4-FFF2-40B4-BE49-F238E27FC236}">
                  <a16:creationId xmlns:a16="http://schemas.microsoft.com/office/drawing/2014/main" id="{99A58556-C083-69FA-C30F-DA6BA8B1516D}"/>
                </a:ext>
              </a:extLst>
            </p:cNvPr>
            <p:cNvSpPr/>
            <p:nvPr/>
          </p:nvSpPr>
          <p:spPr>
            <a:xfrm>
              <a:off x="1038795" y="475227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FC5CA6E0-5F2F-3D43-1EAB-E72E9871A846}"/>
                </a:ext>
              </a:extLst>
            </p:cNvPr>
            <p:cNvSpPr/>
            <p:nvPr/>
          </p:nvSpPr>
          <p:spPr>
            <a:xfrm>
              <a:off x="1237762" y="475227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0137E85-0CE9-347B-0C08-D7A327D65632}"/>
                </a:ext>
              </a:extLst>
            </p:cNvPr>
            <p:cNvSpPr/>
            <p:nvPr/>
          </p:nvSpPr>
          <p:spPr>
            <a:xfrm>
              <a:off x="1445196" y="475227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FA8C66AE-4060-3BA1-7E6E-3C63730CD85C}"/>
              </a:ext>
            </a:extLst>
          </p:cNvPr>
          <p:cNvGrpSpPr/>
          <p:nvPr/>
        </p:nvGrpSpPr>
        <p:grpSpPr>
          <a:xfrm>
            <a:off x="10111593" y="5276570"/>
            <a:ext cx="520701" cy="114300"/>
            <a:chOff x="1038795" y="4752270"/>
            <a:chExt cx="520701" cy="114300"/>
          </a:xfrm>
          <a:solidFill>
            <a:schemeClr val="accent5">
              <a:lumMod val="75000"/>
            </a:schemeClr>
          </a:solidFill>
        </p:grpSpPr>
        <p:sp>
          <p:nvSpPr>
            <p:cNvPr id="40" name="Oval 39">
              <a:extLst>
                <a:ext uri="{FF2B5EF4-FFF2-40B4-BE49-F238E27FC236}">
                  <a16:creationId xmlns:a16="http://schemas.microsoft.com/office/drawing/2014/main" id="{C9118FBD-EBD7-1C2E-6F75-FE8CFD1276D6}"/>
                </a:ext>
              </a:extLst>
            </p:cNvPr>
            <p:cNvSpPr/>
            <p:nvPr/>
          </p:nvSpPr>
          <p:spPr>
            <a:xfrm>
              <a:off x="1038795" y="475227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3BE2BFAA-7BFE-567A-6726-1ED662B3839C}"/>
                </a:ext>
              </a:extLst>
            </p:cNvPr>
            <p:cNvSpPr/>
            <p:nvPr/>
          </p:nvSpPr>
          <p:spPr>
            <a:xfrm>
              <a:off x="1237762" y="475227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48D29524-97CC-8ED8-67C5-62CE7426E59A}"/>
                </a:ext>
              </a:extLst>
            </p:cNvPr>
            <p:cNvSpPr/>
            <p:nvPr/>
          </p:nvSpPr>
          <p:spPr>
            <a:xfrm>
              <a:off x="1445196" y="475227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extBox 4">
            <a:extLst>
              <a:ext uri="{FF2B5EF4-FFF2-40B4-BE49-F238E27FC236}">
                <a16:creationId xmlns:a16="http://schemas.microsoft.com/office/drawing/2014/main" id="{B1A56D54-C195-6F24-C999-62561DC3E6D5}"/>
              </a:ext>
            </a:extLst>
          </p:cNvPr>
          <p:cNvSpPr txBox="1"/>
          <p:nvPr/>
        </p:nvSpPr>
        <p:spPr>
          <a:xfrm>
            <a:off x="1271090" y="2495276"/>
            <a:ext cx="1736305" cy="461665"/>
          </a:xfrm>
          <a:prstGeom prst="rect">
            <a:avLst/>
          </a:prstGeom>
          <a:noFill/>
        </p:spPr>
        <p:txBody>
          <a:bodyPr wrap="square" rtlCol="0">
            <a:spAutoFit/>
          </a:bodyPr>
          <a:lstStyle>
            <a:defPPr>
              <a:defRPr lang="en-US"/>
            </a:defPPr>
            <a:lvl1pPr>
              <a:defRPr b="1">
                <a:solidFill>
                  <a:schemeClr val="tx1">
                    <a:lumMod val="75000"/>
                    <a:lumOff val="25000"/>
                  </a:schemeClr>
                </a:solidFill>
                <a:cs typeface="Sakkal Majalla" panose="02000000000000000000" pitchFamily="2" charset="-78"/>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spc="150" normalizeH="0" baseline="0" noProof="0" dirty="0">
                <a:ln>
                  <a:noFill/>
                </a:ln>
                <a:solidFill>
                  <a:schemeClr val="accent5"/>
                </a:solidFill>
                <a:effectLst/>
                <a:uLnTx/>
                <a:uFillTx/>
                <a:latin typeface="Open Sans"/>
                <a:ea typeface="+mn-ea"/>
                <a:cs typeface="+mn-cs"/>
              </a:rPr>
              <a:t>Cloud managed service provider</a:t>
            </a:r>
          </a:p>
        </p:txBody>
      </p:sp>
      <p:sp>
        <p:nvSpPr>
          <p:cNvPr id="18" name="TextBox 17">
            <a:extLst>
              <a:ext uri="{FF2B5EF4-FFF2-40B4-BE49-F238E27FC236}">
                <a16:creationId xmlns:a16="http://schemas.microsoft.com/office/drawing/2014/main" id="{4BBAE723-F039-A02D-CA28-4816F068B43B}"/>
              </a:ext>
            </a:extLst>
          </p:cNvPr>
          <p:cNvSpPr txBox="1"/>
          <p:nvPr/>
        </p:nvSpPr>
        <p:spPr>
          <a:xfrm>
            <a:off x="4011782" y="2495276"/>
            <a:ext cx="1736305" cy="461665"/>
          </a:xfrm>
          <a:prstGeom prst="rect">
            <a:avLst/>
          </a:prstGeom>
          <a:noFill/>
        </p:spPr>
        <p:txBody>
          <a:bodyPr wrap="square" rtlCol="0">
            <a:spAutoFit/>
          </a:bodyPr>
          <a:lstStyle>
            <a:defPPr>
              <a:defRPr lang="en-US"/>
            </a:defPPr>
            <a:lvl1pPr>
              <a:defRPr b="1">
                <a:solidFill>
                  <a:schemeClr val="tx1">
                    <a:lumMod val="75000"/>
                    <a:lumOff val="25000"/>
                  </a:schemeClr>
                </a:solidFill>
                <a:cs typeface="Sakkal Majalla" panose="02000000000000000000" pitchFamily="2" charset="-78"/>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spc="150" normalizeH="0" baseline="0" noProof="0" dirty="0">
                <a:ln>
                  <a:noFill/>
                </a:ln>
                <a:solidFill>
                  <a:schemeClr val="accent5"/>
                </a:solidFill>
                <a:effectLst/>
                <a:uLnTx/>
                <a:uFillTx/>
                <a:latin typeface="Open Sans"/>
                <a:ea typeface="+mn-ea"/>
                <a:cs typeface="+mn-cs"/>
              </a:rPr>
              <a:t>Cloud product provider</a:t>
            </a:r>
          </a:p>
        </p:txBody>
      </p:sp>
      <p:sp>
        <p:nvSpPr>
          <p:cNvPr id="19" name="TextBox 18">
            <a:extLst>
              <a:ext uri="{FF2B5EF4-FFF2-40B4-BE49-F238E27FC236}">
                <a16:creationId xmlns:a16="http://schemas.microsoft.com/office/drawing/2014/main" id="{1E202987-0AA2-B63E-49F3-B654439BFBF8}"/>
              </a:ext>
            </a:extLst>
          </p:cNvPr>
          <p:cNvSpPr txBox="1"/>
          <p:nvPr/>
        </p:nvSpPr>
        <p:spPr>
          <a:xfrm>
            <a:off x="6991151" y="2495276"/>
            <a:ext cx="1736305" cy="276999"/>
          </a:xfrm>
          <a:prstGeom prst="rect">
            <a:avLst/>
          </a:prstGeom>
          <a:noFill/>
        </p:spPr>
        <p:txBody>
          <a:bodyPr wrap="square" rtlCol="0">
            <a:spAutoFit/>
          </a:bodyPr>
          <a:lstStyle>
            <a:defPPr>
              <a:defRPr lang="en-US"/>
            </a:defPPr>
            <a:lvl1pPr>
              <a:defRPr b="1">
                <a:solidFill>
                  <a:schemeClr val="tx1">
                    <a:lumMod val="75000"/>
                    <a:lumOff val="25000"/>
                  </a:schemeClr>
                </a:solidFill>
                <a:cs typeface="Sakkal Majalla" panose="02000000000000000000" pitchFamily="2" charset="-78"/>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spc="150" normalizeH="0" baseline="0" noProof="0" dirty="0">
                <a:ln>
                  <a:noFill/>
                </a:ln>
                <a:solidFill>
                  <a:schemeClr val="accent5"/>
                </a:solidFill>
                <a:effectLst/>
                <a:uLnTx/>
                <a:uFillTx/>
                <a:latin typeface="Open Sans"/>
                <a:ea typeface="+mn-ea"/>
                <a:cs typeface="+mn-cs"/>
              </a:rPr>
              <a:t>Cloud broker</a:t>
            </a:r>
          </a:p>
        </p:txBody>
      </p:sp>
      <p:sp>
        <p:nvSpPr>
          <p:cNvPr id="20" name="TextBox 19">
            <a:extLst>
              <a:ext uri="{FF2B5EF4-FFF2-40B4-BE49-F238E27FC236}">
                <a16:creationId xmlns:a16="http://schemas.microsoft.com/office/drawing/2014/main" id="{59028AAA-9E60-9935-385F-2A13F0DFA3EA}"/>
              </a:ext>
            </a:extLst>
          </p:cNvPr>
          <p:cNvSpPr txBox="1"/>
          <p:nvPr/>
        </p:nvSpPr>
        <p:spPr>
          <a:xfrm>
            <a:off x="9888827" y="2495276"/>
            <a:ext cx="1736305" cy="276999"/>
          </a:xfrm>
          <a:prstGeom prst="rect">
            <a:avLst/>
          </a:prstGeom>
          <a:noFill/>
        </p:spPr>
        <p:txBody>
          <a:bodyPr wrap="square" rtlCol="0">
            <a:spAutoFit/>
          </a:bodyPr>
          <a:lstStyle>
            <a:defPPr>
              <a:defRPr lang="en-US"/>
            </a:defPPr>
            <a:lvl1pPr>
              <a:defRPr b="1">
                <a:solidFill>
                  <a:schemeClr val="tx1">
                    <a:lumMod val="75000"/>
                    <a:lumOff val="25000"/>
                  </a:schemeClr>
                </a:solidFill>
                <a:cs typeface="Sakkal Majalla" panose="02000000000000000000" pitchFamily="2" charset="-78"/>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spc="150" normalizeH="0" baseline="0" noProof="0" dirty="0">
                <a:ln>
                  <a:noFill/>
                </a:ln>
                <a:solidFill>
                  <a:schemeClr val="accent5"/>
                </a:solidFill>
                <a:effectLst/>
                <a:uLnTx/>
                <a:uFillTx/>
                <a:latin typeface="Open Sans"/>
                <a:ea typeface="+mn-ea"/>
                <a:cs typeface="+mn-cs"/>
              </a:rPr>
              <a:t>Policy setter</a:t>
            </a:r>
          </a:p>
        </p:txBody>
      </p:sp>
    </p:spTree>
    <p:extLst>
      <p:ext uri="{BB962C8B-B14F-4D97-AF65-F5344CB8AC3E}">
        <p14:creationId xmlns:p14="http://schemas.microsoft.com/office/powerpoint/2010/main" val="12014691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FC5DB2-C3F1-F3F5-381E-B380AC6DB00C}"/>
              </a:ext>
            </a:extLst>
          </p:cNvPr>
          <p:cNvSpPr>
            <a:spLocks noGrp="1"/>
          </p:cNvSpPr>
          <p:nvPr>
            <p:ph type="title"/>
          </p:nvPr>
        </p:nvSpPr>
        <p:spPr>
          <a:xfrm>
            <a:off x="551688" y="2887918"/>
            <a:ext cx="3620262" cy="900311"/>
          </a:xfrm>
        </p:spPr>
        <p:txBody>
          <a:bodyPr/>
          <a:lstStyle/>
          <a:p>
            <a:r>
              <a:rPr lang="en-US" dirty="0"/>
              <a:t>Thank you</a:t>
            </a:r>
          </a:p>
        </p:txBody>
      </p:sp>
    </p:spTree>
    <p:extLst>
      <p:ext uri="{BB962C8B-B14F-4D97-AF65-F5344CB8AC3E}">
        <p14:creationId xmlns:p14="http://schemas.microsoft.com/office/powerpoint/2010/main" val="84645902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0CBC4BD-2439-FB1E-8653-FAF15BAD2E70}"/>
              </a:ext>
            </a:extLst>
          </p:cNvPr>
          <p:cNvSpPr/>
          <p:nvPr/>
        </p:nvSpPr>
        <p:spPr>
          <a:xfrm>
            <a:off x="0" y="3028950"/>
            <a:ext cx="12192000" cy="3829050"/>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E74218A6-6FC4-6E48-2252-63D521D2DE69}"/>
              </a:ext>
            </a:extLst>
          </p:cNvPr>
          <p:cNvPicPr>
            <a:picLocks noChangeAspect="1"/>
          </p:cNvPicPr>
          <p:nvPr/>
        </p:nvPicPr>
        <p:blipFill rotWithShape="1">
          <a:blip r:embed="rId2"/>
          <a:srcRect t="1138" b="1138"/>
          <a:stretch/>
        </p:blipFill>
        <p:spPr>
          <a:xfrm>
            <a:off x="1864199" y="1905812"/>
            <a:ext cx="2233139" cy="2233139"/>
          </a:xfrm>
          <a:prstGeom prst="ellipse">
            <a:avLst/>
          </a:prstGeom>
          <a:ln w="57150">
            <a:solidFill>
              <a:srgbClr val="0097A9"/>
            </a:solidFill>
          </a:ln>
          <a:effectLst/>
        </p:spPr>
      </p:pic>
      <p:sp>
        <p:nvSpPr>
          <p:cNvPr id="6" name="TextBox 5">
            <a:extLst>
              <a:ext uri="{FF2B5EF4-FFF2-40B4-BE49-F238E27FC236}">
                <a16:creationId xmlns:a16="http://schemas.microsoft.com/office/drawing/2014/main" id="{588F3198-5874-D427-61F5-473918F50846}"/>
              </a:ext>
            </a:extLst>
          </p:cNvPr>
          <p:cNvSpPr txBox="1">
            <a:spLocks/>
          </p:cNvSpPr>
          <p:nvPr/>
        </p:nvSpPr>
        <p:spPr>
          <a:xfrm>
            <a:off x="469900" y="4636050"/>
            <a:ext cx="5308599" cy="1200329"/>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bg1"/>
                </a:solidFill>
                <a:effectLst/>
                <a:uLnTx/>
                <a:uFillTx/>
              </a:rPr>
              <a:t>Thomas Kessler</a:t>
            </a:r>
          </a:p>
          <a:p>
            <a:r>
              <a:rPr lang="en-US" sz="1800" b="0" i="0" u="none" strike="noStrike" baseline="0">
                <a:solidFill>
                  <a:schemeClr val="bg1"/>
                </a:solidFill>
              </a:rPr>
              <a:t>Partner </a:t>
            </a:r>
          </a:p>
          <a:p>
            <a:r>
              <a:rPr lang="en-US" sz="1800" b="0" i="0" u="none" strike="noStrike" baseline="0">
                <a:solidFill>
                  <a:schemeClr val="bg1"/>
                </a:solidFill>
              </a:rPr>
              <a:t>Cloud &amp; Engineering </a:t>
            </a:r>
          </a:p>
          <a:p>
            <a:r>
              <a:rPr lang="en-US" sz="1800" b="0" i="0" u="none" strike="noStrike" baseline="0">
                <a:solidFill>
                  <a:schemeClr val="bg1"/>
                </a:solidFill>
              </a:rPr>
              <a:t>thkessler@deloitte.com </a:t>
            </a:r>
            <a:endParaRPr kumimoji="0" lang="en-US" sz="2400" b="0" i="0" u="none" strike="noStrike" kern="0" cap="none" spc="0" normalizeH="0" baseline="0" noProof="0" dirty="0">
              <a:ln>
                <a:noFill/>
              </a:ln>
              <a:solidFill>
                <a:schemeClr val="bg1"/>
              </a:solidFill>
              <a:effectLst/>
              <a:uLnTx/>
              <a:uFillTx/>
            </a:endParaRPr>
          </a:p>
        </p:txBody>
      </p:sp>
      <p:pic>
        <p:nvPicPr>
          <p:cNvPr id="1028" name="Picture 4">
            <a:extLst>
              <a:ext uri="{FF2B5EF4-FFF2-40B4-BE49-F238E27FC236}">
                <a16:creationId xmlns:a16="http://schemas.microsoft.com/office/drawing/2014/main" id="{BB1B6A19-E040-94D5-4E2B-B7E515B1AFB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59" b="1259"/>
          <a:stretch/>
        </p:blipFill>
        <p:spPr bwMode="auto">
          <a:xfrm>
            <a:off x="7807801" y="1908645"/>
            <a:ext cx="2233139" cy="2233139"/>
          </a:xfrm>
          <a:prstGeom prst="ellipse">
            <a:avLst/>
          </a:prstGeom>
          <a:ln w="57150">
            <a:solidFill>
              <a:srgbClr val="0097A9"/>
            </a:solidFill>
          </a:ln>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A49DD7EE-27B5-1D3D-BD1D-B54C466B8E17}"/>
              </a:ext>
            </a:extLst>
          </p:cNvPr>
          <p:cNvSpPr txBox="1">
            <a:spLocks/>
          </p:cNvSpPr>
          <p:nvPr/>
        </p:nvSpPr>
        <p:spPr>
          <a:xfrm>
            <a:off x="6413502" y="4636050"/>
            <a:ext cx="5308598" cy="1200329"/>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chemeClr val="bg1"/>
                </a:solidFill>
                <a:effectLst/>
                <a:uLnTx/>
                <a:uFillTx/>
              </a:rPr>
              <a:t>Aurélien Descamps</a:t>
            </a:r>
          </a:p>
          <a:p>
            <a:pPr marR="0" lvl="0" indent="0" fontAlgn="auto">
              <a:lnSpc>
                <a:spcPct val="100000"/>
              </a:lnSpc>
              <a:spcBef>
                <a:spcPts val="0"/>
              </a:spcBef>
              <a:spcAft>
                <a:spcPts val="0"/>
              </a:spcAft>
              <a:buClrTx/>
              <a:buSzTx/>
              <a:buFontTx/>
              <a:buNone/>
              <a:tabLst/>
              <a:defRPr/>
            </a:pPr>
            <a:r>
              <a:rPr lang="en-US">
                <a:solidFill>
                  <a:schemeClr val="bg1"/>
                </a:solidFill>
              </a:rPr>
              <a:t>Senior Manager</a:t>
            </a:r>
          </a:p>
          <a:p>
            <a:pPr marR="0" lvl="0" indent="0" fontAlgn="auto">
              <a:lnSpc>
                <a:spcPct val="100000"/>
              </a:lnSpc>
              <a:spcBef>
                <a:spcPts val="0"/>
              </a:spcBef>
              <a:spcAft>
                <a:spcPts val="0"/>
              </a:spcAft>
              <a:buClrTx/>
              <a:buSzTx/>
              <a:buFontTx/>
              <a:buNone/>
              <a:tabLst/>
              <a:defRPr/>
            </a:pPr>
            <a:r>
              <a:rPr lang="en-US">
                <a:solidFill>
                  <a:schemeClr val="bg1"/>
                </a:solidFill>
              </a:rPr>
              <a:t>Cloud &amp; Engineering</a:t>
            </a:r>
          </a:p>
          <a:p>
            <a:pPr marR="0" lvl="0" indent="0" fontAlgn="auto">
              <a:lnSpc>
                <a:spcPct val="100000"/>
              </a:lnSpc>
              <a:spcBef>
                <a:spcPts val="0"/>
              </a:spcBef>
              <a:spcAft>
                <a:spcPts val="0"/>
              </a:spcAft>
              <a:buClrTx/>
              <a:buSzTx/>
              <a:buFontTx/>
              <a:buNone/>
              <a:tabLst/>
              <a:defRPr/>
            </a:pPr>
            <a:r>
              <a:rPr lang="en-US">
                <a:solidFill>
                  <a:schemeClr val="bg1"/>
                </a:solidFill>
              </a:rPr>
              <a:t>audescamps@deloitte.com</a:t>
            </a:r>
            <a:endParaRPr lang="en-US" dirty="0">
              <a:solidFill>
                <a:schemeClr val="bg1"/>
              </a:solidFill>
            </a:endParaRPr>
          </a:p>
        </p:txBody>
      </p:sp>
      <p:grpSp>
        <p:nvGrpSpPr>
          <p:cNvPr id="30" name="Group 29">
            <a:extLst>
              <a:ext uri="{FF2B5EF4-FFF2-40B4-BE49-F238E27FC236}">
                <a16:creationId xmlns:a16="http://schemas.microsoft.com/office/drawing/2014/main" id="{21B8AC24-6519-397A-A504-D2D3DC7E2D72}"/>
              </a:ext>
            </a:extLst>
          </p:cNvPr>
          <p:cNvGrpSpPr/>
          <p:nvPr/>
        </p:nvGrpSpPr>
        <p:grpSpPr>
          <a:xfrm>
            <a:off x="469900" y="4336426"/>
            <a:ext cx="11252200" cy="0"/>
            <a:chOff x="469900" y="4336426"/>
            <a:chExt cx="11252200" cy="0"/>
          </a:xfrm>
        </p:grpSpPr>
        <p:cxnSp>
          <p:nvCxnSpPr>
            <p:cNvPr id="26" name="Straight Connector 25">
              <a:extLst>
                <a:ext uri="{FF2B5EF4-FFF2-40B4-BE49-F238E27FC236}">
                  <a16:creationId xmlns:a16="http://schemas.microsoft.com/office/drawing/2014/main" id="{0E4D9624-3FCC-6BD9-B695-8E7F03E53614}"/>
                </a:ext>
              </a:extLst>
            </p:cNvPr>
            <p:cNvCxnSpPr>
              <a:cxnSpLocks/>
            </p:cNvCxnSpPr>
            <p:nvPr/>
          </p:nvCxnSpPr>
          <p:spPr>
            <a:xfrm>
              <a:off x="469900" y="4336426"/>
              <a:ext cx="530859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A5C0753-FB78-706E-93F7-4607A01579D1}"/>
                </a:ext>
              </a:extLst>
            </p:cNvPr>
            <p:cNvCxnSpPr>
              <a:cxnSpLocks/>
            </p:cNvCxnSpPr>
            <p:nvPr/>
          </p:nvCxnSpPr>
          <p:spPr>
            <a:xfrm>
              <a:off x="6413501" y="4336426"/>
              <a:ext cx="530859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9" name="Graphic 8">
            <a:extLst>
              <a:ext uri="{FF2B5EF4-FFF2-40B4-BE49-F238E27FC236}">
                <a16:creationId xmlns:a16="http://schemas.microsoft.com/office/drawing/2014/main" id="{046257C7-1948-0762-DEEB-1384604635CB}"/>
              </a:ext>
            </a:extLst>
          </p:cNvPr>
          <p:cNvPicPr>
            <a:picLocks noChangeAspect="1"/>
          </p:cNvPicPr>
          <p:nvPr/>
        </p:nvPicPr>
        <p:blipFill rotWithShape="1">
          <a:blip r:embed="rId4">
            <a:alphaModFix amt="65000"/>
            <a:extLst>
              <a:ext uri="{28A0092B-C50C-407E-A947-70E740481C1C}">
                <a14:useLocalDpi xmlns:a14="http://schemas.microsoft.com/office/drawing/2010/main" val="0"/>
              </a:ext>
              <a:ext uri="{96DAC541-7B7A-43D3-8B79-37D633B846F1}">
                <asvg:svgBlip xmlns:asvg="http://schemas.microsoft.com/office/drawing/2016/SVG/main" r:embed="rId5"/>
              </a:ext>
            </a:extLst>
          </a:blip>
          <a:srcRect t="25000" b="25000"/>
          <a:stretch/>
        </p:blipFill>
        <p:spPr>
          <a:xfrm>
            <a:off x="0" y="-902185"/>
            <a:ext cx="12192000" cy="2610522"/>
          </a:xfrm>
          <a:prstGeom prst="rect">
            <a:avLst/>
          </a:prstGeom>
        </p:spPr>
      </p:pic>
    </p:spTree>
    <p:extLst>
      <p:ext uri="{BB962C8B-B14F-4D97-AF65-F5344CB8AC3E}">
        <p14:creationId xmlns:p14="http://schemas.microsoft.com/office/powerpoint/2010/main" val="855865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1C84324-03D0-90F1-7FC1-72D2D092F036}"/>
              </a:ext>
            </a:extLst>
          </p:cNvPr>
          <p:cNvSpPr>
            <a:spLocks noGrp="1"/>
          </p:cNvSpPr>
          <p:nvPr>
            <p:ph type="title"/>
          </p:nvPr>
        </p:nvSpPr>
        <p:spPr/>
        <p:txBody>
          <a:bodyPr/>
          <a:lstStyle/>
          <a:p>
            <a:r>
              <a:rPr lang="en-US" dirty="0"/>
              <a:t>Demographics</a:t>
            </a:r>
          </a:p>
        </p:txBody>
      </p:sp>
      <p:grpSp>
        <p:nvGrpSpPr>
          <p:cNvPr id="13" name="Group 12">
            <a:extLst>
              <a:ext uri="{FF2B5EF4-FFF2-40B4-BE49-F238E27FC236}">
                <a16:creationId xmlns:a16="http://schemas.microsoft.com/office/drawing/2014/main" id="{48ED4FA5-6D56-B414-2377-A7A88986C65E}"/>
              </a:ext>
            </a:extLst>
          </p:cNvPr>
          <p:cNvGrpSpPr/>
          <p:nvPr/>
        </p:nvGrpSpPr>
        <p:grpSpPr>
          <a:xfrm>
            <a:off x="1959880" y="2936894"/>
            <a:ext cx="2527300" cy="1502435"/>
            <a:chOff x="1162050" y="2815018"/>
            <a:chExt cx="2527300" cy="1502435"/>
          </a:xfrm>
        </p:grpSpPr>
        <p:sp>
          <p:nvSpPr>
            <p:cNvPr id="18" name="TextBox 17">
              <a:extLst>
                <a:ext uri="{FF2B5EF4-FFF2-40B4-BE49-F238E27FC236}">
                  <a16:creationId xmlns:a16="http://schemas.microsoft.com/office/drawing/2014/main" id="{C3A453FF-41A4-6AE0-1FEE-F077D6FFE830}"/>
                </a:ext>
              </a:extLst>
            </p:cNvPr>
            <p:cNvSpPr txBox="1">
              <a:spLocks/>
            </p:cNvSpPr>
            <p:nvPr/>
          </p:nvSpPr>
          <p:spPr>
            <a:xfrm>
              <a:off x="1162050" y="3442213"/>
              <a:ext cx="2527300" cy="875240"/>
            </a:xfrm>
            <a:prstGeom prst="rect">
              <a:avLst/>
            </a:prstGeom>
            <a:no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rPr>
                <a:t>Belgia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err="1">
                  <a:ln>
                    <a:noFill/>
                  </a:ln>
                  <a:solidFill>
                    <a:prstClr val="black"/>
                  </a:solidFill>
                  <a:effectLst/>
                  <a:uLnTx/>
                  <a:uFillTx/>
                </a:rPr>
                <a:t>organisations</a:t>
              </a:r>
              <a:endParaRPr kumimoji="0" lang="en-GB" sz="1400" b="0" i="0" u="none" strike="noStrike" kern="0" cap="none" spc="0" normalizeH="0" baseline="0" noProof="0" dirty="0">
                <a:ln>
                  <a:noFill/>
                </a:ln>
                <a:solidFill>
                  <a:prstClr val="black"/>
                </a:solidFill>
                <a:effectLst/>
                <a:uLnTx/>
                <a:uFillTx/>
              </a:endParaRPr>
            </a:p>
          </p:txBody>
        </p:sp>
        <p:sp>
          <p:nvSpPr>
            <p:cNvPr id="19" name="TextBox 18">
              <a:extLst>
                <a:ext uri="{FF2B5EF4-FFF2-40B4-BE49-F238E27FC236}">
                  <a16:creationId xmlns:a16="http://schemas.microsoft.com/office/drawing/2014/main" id="{75E4F51F-AE16-5CCC-A42E-06D427B424F9}"/>
                </a:ext>
              </a:extLst>
            </p:cNvPr>
            <p:cNvSpPr txBox="1">
              <a:spLocks/>
            </p:cNvSpPr>
            <p:nvPr/>
          </p:nvSpPr>
          <p:spPr>
            <a:xfrm>
              <a:off x="1550834" y="2815018"/>
              <a:ext cx="1749733" cy="738664"/>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488"/>
                </a:spcBef>
                <a:spcAft>
                  <a:spcPts val="0"/>
                </a:spcAft>
                <a:buClrTx/>
                <a:buSzPct val="100000"/>
                <a:buFontTx/>
                <a:buNone/>
                <a:tabLst/>
                <a:defRPr/>
              </a:pPr>
              <a:r>
                <a:rPr kumimoji="0" lang="en-US" sz="4800" b="0" i="0" u="none" strike="noStrike" kern="0" cap="none" spc="0" normalizeH="0" baseline="0" noProof="0">
                  <a:ln>
                    <a:noFill/>
                  </a:ln>
                  <a:solidFill>
                    <a:schemeClr val="accent5">
                      <a:lumMod val="50000"/>
                    </a:schemeClr>
                  </a:solidFill>
                  <a:effectLst/>
                  <a:uLnTx/>
                  <a:uFillTx/>
                </a:rPr>
                <a:t>17</a:t>
              </a:r>
              <a:endParaRPr kumimoji="0" lang="en-US" sz="4800" b="0" i="0" u="none" strike="noStrike" kern="0" cap="none" spc="0" normalizeH="0" baseline="0" noProof="0" dirty="0">
                <a:ln>
                  <a:noFill/>
                </a:ln>
                <a:solidFill>
                  <a:schemeClr val="accent5">
                    <a:lumMod val="50000"/>
                  </a:schemeClr>
                </a:solidFill>
                <a:effectLst/>
                <a:uLnTx/>
                <a:uFillTx/>
              </a:endParaRPr>
            </a:p>
          </p:txBody>
        </p:sp>
      </p:grpSp>
      <p:sp>
        <p:nvSpPr>
          <p:cNvPr id="7" name="Rectangle 6">
            <a:extLst>
              <a:ext uri="{FF2B5EF4-FFF2-40B4-BE49-F238E27FC236}">
                <a16:creationId xmlns:a16="http://schemas.microsoft.com/office/drawing/2014/main" id="{F1149572-B214-E189-C496-D03330B74E95}"/>
              </a:ext>
            </a:extLst>
          </p:cNvPr>
          <p:cNvSpPr/>
          <p:nvPr/>
        </p:nvSpPr>
        <p:spPr bwMode="gray">
          <a:xfrm>
            <a:off x="0" y="1377827"/>
            <a:ext cx="12192000" cy="593187"/>
          </a:xfrm>
          <a:prstGeom prst="rect">
            <a:avLst/>
          </a:prstGeom>
          <a:solidFill>
            <a:srgbClr val="0097A9"/>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8" name="Rectangle 7">
            <a:extLst>
              <a:ext uri="{FF2B5EF4-FFF2-40B4-BE49-F238E27FC236}">
                <a16:creationId xmlns:a16="http://schemas.microsoft.com/office/drawing/2014/main" id="{6C841203-D99F-A549-A4C8-09A82E41BD45}"/>
              </a:ext>
            </a:extLst>
          </p:cNvPr>
          <p:cNvSpPr/>
          <p:nvPr/>
        </p:nvSpPr>
        <p:spPr bwMode="gray">
          <a:xfrm>
            <a:off x="517526" y="1529392"/>
            <a:ext cx="5233032" cy="246221"/>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Demographics</a:t>
            </a:r>
          </a:p>
        </p:txBody>
      </p:sp>
      <p:sp>
        <p:nvSpPr>
          <p:cNvPr id="9" name="Rectangle 8">
            <a:extLst>
              <a:ext uri="{FF2B5EF4-FFF2-40B4-BE49-F238E27FC236}">
                <a16:creationId xmlns:a16="http://schemas.microsoft.com/office/drawing/2014/main" id="{33FDB64B-E2FF-674F-5836-6FDA08D8F52C}"/>
              </a:ext>
            </a:extLst>
          </p:cNvPr>
          <p:cNvSpPr/>
          <p:nvPr/>
        </p:nvSpPr>
        <p:spPr bwMode="gray">
          <a:xfrm>
            <a:off x="6358474" y="1529392"/>
            <a:ext cx="5363626" cy="246221"/>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Respondents' yearly IT budget (M€)</a:t>
            </a:r>
          </a:p>
        </p:txBody>
      </p:sp>
      <p:cxnSp>
        <p:nvCxnSpPr>
          <p:cNvPr id="10" name="Straight Connector 9">
            <a:extLst>
              <a:ext uri="{FF2B5EF4-FFF2-40B4-BE49-F238E27FC236}">
                <a16:creationId xmlns:a16="http://schemas.microsoft.com/office/drawing/2014/main" id="{CF02552C-FCE7-D7B9-D303-CB143D699537}"/>
              </a:ext>
            </a:extLst>
          </p:cNvPr>
          <p:cNvCxnSpPr>
            <a:cxnSpLocks/>
          </p:cNvCxnSpPr>
          <p:nvPr/>
        </p:nvCxnSpPr>
        <p:spPr>
          <a:xfrm>
            <a:off x="389467" y="1484436"/>
            <a:ext cx="0" cy="3466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129185C-FC6A-CDC1-73F0-C680C4F6494E}"/>
              </a:ext>
            </a:extLst>
          </p:cNvPr>
          <p:cNvCxnSpPr>
            <a:cxnSpLocks/>
          </p:cNvCxnSpPr>
          <p:nvPr/>
        </p:nvCxnSpPr>
        <p:spPr>
          <a:xfrm>
            <a:off x="6184900" y="1484436"/>
            <a:ext cx="0" cy="3466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2" name="Chart 1">
            <a:extLst>
              <a:ext uri="{FF2B5EF4-FFF2-40B4-BE49-F238E27FC236}">
                <a16:creationId xmlns:a16="http://schemas.microsoft.com/office/drawing/2014/main" id="{8A64A2FE-1035-7F30-C343-C31118F88571}"/>
              </a:ext>
            </a:extLst>
          </p:cNvPr>
          <p:cNvGraphicFramePr/>
          <p:nvPr>
            <p:extLst>
              <p:ext uri="{D42A27DB-BD31-4B8C-83A1-F6EECF244321}">
                <p14:modId xmlns:p14="http://schemas.microsoft.com/office/powerpoint/2010/main" val="1520847894"/>
              </p:ext>
            </p:extLst>
          </p:nvPr>
        </p:nvGraphicFramePr>
        <p:xfrm>
          <a:off x="6718300" y="2331251"/>
          <a:ext cx="5003800" cy="3961025"/>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2310F318-6EFB-63EB-FA39-46053E4AA76D}"/>
              </a:ext>
            </a:extLst>
          </p:cNvPr>
          <p:cNvSpPr/>
          <p:nvPr/>
        </p:nvSpPr>
        <p:spPr bwMode="gray">
          <a:xfrm rot="16200000">
            <a:off x="5811767" y="4219431"/>
            <a:ext cx="1247302" cy="184666"/>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rtl="0">
              <a:defRPr sz="1800" b="0" i="0" u="none" strike="noStrike" kern="1200" spc="0" baseline="0">
                <a:solidFill>
                  <a:prstClr val="black">
                    <a:lumMod val="65000"/>
                    <a:lumOff val="35000"/>
                  </a:prstClr>
                </a:solidFill>
                <a:latin typeface="+mn-lt"/>
                <a:ea typeface="+mn-ea"/>
                <a:cs typeface="+mn-cs"/>
              </a:defRPr>
            </a:pPr>
            <a:r>
              <a:rPr lang="en-US" sz="1200" dirty="0"/>
              <a:t># respondents</a:t>
            </a:r>
          </a:p>
        </p:txBody>
      </p:sp>
      <p:graphicFrame>
        <p:nvGraphicFramePr>
          <p:cNvPr id="12" name="Chart 11">
            <a:extLst>
              <a:ext uri="{FF2B5EF4-FFF2-40B4-BE49-F238E27FC236}">
                <a16:creationId xmlns:a16="http://schemas.microsoft.com/office/drawing/2014/main" id="{7E1EA09A-1B82-9237-B8B9-7ABC99954081}"/>
              </a:ext>
            </a:extLst>
          </p:cNvPr>
          <p:cNvGraphicFramePr/>
          <p:nvPr>
            <p:extLst>
              <p:ext uri="{D42A27DB-BD31-4B8C-83A1-F6EECF244321}">
                <p14:modId xmlns:p14="http://schemas.microsoft.com/office/powerpoint/2010/main" val="3263648310"/>
              </p:ext>
            </p:extLst>
          </p:nvPr>
        </p:nvGraphicFramePr>
        <p:xfrm>
          <a:off x="505457" y="2278666"/>
          <a:ext cx="5245101" cy="406619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025270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alpha val="99000"/>
          </a:schemeClr>
        </a:solidFill>
        <a:effectLst/>
      </p:bgPr>
    </p:bg>
    <p:spTree>
      <p:nvGrpSpPr>
        <p:cNvPr id="1" name=""/>
        <p:cNvGrpSpPr/>
        <p:nvPr/>
      </p:nvGrpSpPr>
      <p:grpSpPr>
        <a:xfrm>
          <a:off x="0" y="0"/>
          <a:ext cx="0" cy="0"/>
          <a:chOff x="0" y="0"/>
          <a:chExt cx="0" cy="0"/>
        </a:xfrm>
      </p:grpSpPr>
      <p:pic>
        <p:nvPicPr>
          <p:cNvPr id="86" name="Picture 85">
            <a:extLst>
              <a:ext uri="{FF2B5EF4-FFF2-40B4-BE49-F238E27FC236}">
                <a16:creationId xmlns:a16="http://schemas.microsoft.com/office/drawing/2014/main" id="{B9904630-6780-1445-C47D-9A4A767ACF40}"/>
              </a:ext>
            </a:extLst>
          </p:cNvPr>
          <p:cNvPicPr>
            <a:picLocks noChangeAspect="1"/>
          </p:cNvPicPr>
          <p:nvPr/>
        </p:nvPicPr>
        <p:blipFill rotWithShape="1">
          <a:blip r:embed="rId3"/>
          <a:srcRect l="5965" r="5965"/>
          <a:stretch/>
        </p:blipFill>
        <p:spPr>
          <a:xfrm>
            <a:off x="0" y="0"/>
            <a:ext cx="4270116" cy="6858000"/>
          </a:xfrm>
          <a:prstGeom prst="rect">
            <a:avLst/>
          </a:prstGeom>
        </p:spPr>
      </p:pic>
      <p:cxnSp>
        <p:nvCxnSpPr>
          <p:cNvPr id="70" name="Straight Connector 69">
            <a:extLst>
              <a:ext uri="{FF2B5EF4-FFF2-40B4-BE49-F238E27FC236}">
                <a16:creationId xmlns:a16="http://schemas.microsoft.com/office/drawing/2014/main" id="{13FDF3E6-39C3-6E67-B097-8E4CD3B1FA38}"/>
              </a:ext>
            </a:extLst>
          </p:cNvPr>
          <p:cNvCxnSpPr>
            <a:cxnSpLocks/>
          </p:cNvCxnSpPr>
          <p:nvPr/>
        </p:nvCxnSpPr>
        <p:spPr>
          <a:xfrm>
            <a:off x="6205220" y="1325829"/>
            <a:ext cx="0" cy="4973371"/>
          </a:xfrm>
          <a:prstGeom prst="line">
            <a:avLst/>
          </a:prstGeom>
          <a:ln>
            <a:solidFill>
              <a:schemeClr val="accent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4A95F874-B613-636F-F670-6312909C0DD3}"/>
              </a:ext>
            </a:extLst>
          </p:cNvPr>
          <p:cNvGrpSpPr/>
          <p:nvPr/>
        </p:nvGrpSpPr>
        <p:grpSpPr>
          <a:xfrm>
            <a:off x="5180762" y="5357210"/>
            <a:ext cx="6539020" cy="875240"/>
            <a:chOff x="5180762" y="5357210"/>
            <a:chExt cx="6539020" cy="875240"/>
          </a:xfrm>
        </p:grpSpPr>
        <p:grpSp>
          <p:nvGrpSpPr>
            <p:cNvPr id="76" name="Group 75">
              <a:extLst>
                <a:ext uri="{FF2B5EF4-FFF2-40B4-BE49-F238E27FC236}">
                  <a16:creationId xmlns:a16="http://schemas.microsoft.com/office/drawing/2014/main" id="{F58A595D-7CF1-286B-40B2-72120873FDB1}"/>
                </a:ext>
              </a:extLst>
            </p:cNvPr>
            <p:cNvGrpSpPr/>
            <p:nvPr/>
          </p:nvGrpSpPr>
          <p:grpSpPr>
            <a:xfrm>
              <a:off x="5180762" y="5446444"/>
              <a:ext cx="1129357" cy="696773"/>
              <a:chOff x="5180762" y="5456276"/>
              <a:chExt cx="1129357" cy="696773"/>
            </a:xfrm>
          </p:grpSpPr>
          <p:sp>
            <p:nvSpPr>
              <p:cNvPr id="66" name="TextBox 65">
                <a:extLst>
                  <a:ext uri="{FF2B5EF4-FFF2-40B4-BE49-F238E27FC236}">
                    <a16:creationId xmlns:a16="http://schemas.microsoft.com/office/drawing/2014/main" id="{DBF8C629-5A09-B4A5-4D73-55F2D471CA63}"/>
                  </a:ext>
                </a:extLst>
              </p:cNvPr>
              <p:cNvSpPr txBox="1">
                <a:spLocks/>
              </p:cNvSpPr>
              <p:nvPr/>
            </p:nvSpPr>
            <p:spPr>
              <a:xfrm>
                <a:off x="5180762" y="5456276"/>
                <a:ext cx="1129357" cy="677108"/>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488"/>
                  </a:spcBef>
                  <a:spcAft>
                    <a:spcPts val="0"/>
                  </a:spcAft>
                  <a:buClrTx/>
                  <a:buSzPct val="100000"/>
                  <a:buFontTx/>
                  <a:buNone/>
                  <a:tabLst/>
                  <a:defRPr/>
                </a:pPr>
                <a:r>
                  <a:rPr kumimoji="0" lang="en-US" sz="4400" b="1" i="0" u="none" strike="noStrike" kern="0" cap="none" spc="0" normalizeH="0" baseline="0" noProof="0">
                    <a:ln>
                      <a:noFill/>
                    </a:ln>
                    <a:solidFill>
                      <a:schemeClr val="accent5"/>
                    </a:solidFill>
                    <a:effectLst/>
                    <a:uLnTx/>
                    <a:uFillTx/>
                  </a:rPr>
                  <a:t>05</a:t>
                </a:r>
                <a:endParaRPr kumimoji="0" lang="en-US" sz="4400" b="1" i="0" u="none" strike="noStrike" kern="0" cap="none" spc="0" normalizeH="0" baseline="0" noProof="0" dirty="0">
                  <a:ln>
                    <a:noFill/>
                  </a:ln>
                  <a:solidFill>
                    <a:schemeClr val="accent5"/>
                  </a:solidFill>
                  <a:effectLst/>
                  <a:uLnTx/>
                  <a:uFillTx/>
                </a:endParaRPr>
              </a:p>
            </p:txBody>
          </p:sp>
          <p:sp>
            <p:nvSpPr>
              <p:cNvPr id="67" name="Chord 66">
                <a:extLst>
                  <a:ext uri="{FF2B5EF4-FFF2-40B4-BE49-F238E27FC236}">
                    <a16:creationId xmlns:a16="http://schemas.microsoft.com/office/drawing/2014/main" id="{F8EF39E0-1581-ADF3-09E3-421B6580AA80}"/>
                  </a:ext>
                </a:extLst>
              </p:cNvPr>
              <p:cNvSpPr/>
              <p:nvPr/>
            </p:nvSpPr>
            <p:spPr bwMode="gray">
              <a:xfrm>
                <a:off x="5821766" y="5716667"/>
                <a:ext cx="454318" cy="436382"/>
              </a:xfrm>
              <a:prstGeom prst="chord">
                <a:avLst>
                  <a:gd name="adj1" fmla="val 2700000"/>
                  <a:gd name="adj2" fmla="val 18834732"/>
                </a:avLst>
              </a:prstGeom>
              <a:solidFill>
                <a:srgbClr val="0097A9">
                  <a:alpha val="3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grpSp>
        <p:sp>
          <p:nvSpPr>
            <p:cNvPr id="59" name="TextBox 58">
              <a:extLst>
                <a:ext uri="{FF2B5EF4-FFF2-40B4-BE49-F238E27FC236}">
                  <a16:creationId xmlns:a16="http://schemas.microsoft.com/office/drawing/2014/main" id="{10584791-795B-F2E9-DC1A-8AE473055EEB}"/>
                </a:ext>
              </a:extLst>
            </p:cNvPr>
            <p:cNvSpPr txBox="1">
              <a:spLocks/>
            </p:cNvSpPr>
            <p:nvPr/>
          </p:nvSpPr>
          <p:spPr>
            <a:xfrm>
              <a:off x="6417161" y="5357210"/>
              <a:ext cx="5302621" cy="875240"/>
            </a:xfrm>
            <a:prstGeom prst="rect">
              <a:avLst/>
            </a:prstGeom>
            <a:solidFill>
              <a:schemeClr val="bg1"/>
            </a:solidFill>
            <a:effectLst/>
          </p:spPr>
          <p:txBody>
            <a:bodyPr wrap="square" lIns="9144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effectLst/>
                  <a:uLnTx/>
                  <a:uFillTx/>
                </a:rPr>
                <a:t>Operating model</a:t>
              </a:r>
              <a:endParaRPr kumimoji="0" lang="en-US" sz="2000" b="0" i="0" u="none" strike="noStrike" kern="0" cap="none" spc="0" normalizeH="0" baseline="0" noProof="0" dirty="0">
                <a:ln>
                  <a:noFill/>
                </a:ln>
                <a:effectLst/>
                <a:uLnTx/>
                <a:uFillTx/>
              </a:endParaRPr>
            </a:p>
          </p:txBody>
        </p:sp>
        <p:grpSp>
          <p:nvGrpSpPr>
            <p:cNvPr id="13" name="Graphic 4">
              <a:extLst>
                <a:ext uri="{FF2B5EF4-FFF2-40B4-BE49-F238E27FC236}">
                  <a16:creationId xmlns:a16="http://schemas.microsoft.com/office/drawing/2014/main" id="{0E1C0DC1-7EF6-052E-E02E-A6D9C9FFB2A1}"/>
                </a:ext>
              </a:extLst>
            </p:cNvPr>
            <p:cNvGrpSpPr>
              <a:grpSpLocks noChangeAspect="1"/>
            </p:cNvGrpSpPr>
            <p:nvPr/>
          </p:nvGrpSpPr>
          <p:grpSpPr>
            <a:xfrm>
              <a:off x="10792639" y="5492711"/>
              <a:ext cx="604803" cy="604239"/>
              <a:chOff x="1515054" y="4308712"/>
              <a:chExt cx="362309" cy="361971"/>
            </a:xfrm>
            <a:solidFill>
              <a:srgbClr val="0097A9"/>
            </a:solidFill>
          </p:grpSpPr>
          <p:sp>
            <p:nvSpPr>
              <p:cNvPr id="14" name="Graphic 4">
                <a:extLst>
                  <a:ext uri="{FF2B5EF4-FFF2-40B4-BE49-F238E27FC236}">
                    <a16:creationId xmlns:a16="http://schemas.microsoft.com/office/drawing/2014/main" id="{3D349FAF-198E-732F-6EC5-D48F67310619}"/>
                  </a:ext>
                </a:extLst>
              </p:cNvPr>
              <p:cNvSpPr/>
              <p:nvPr/>
            </p:nvSpPr>
            <p:spPr>
              <a:xfrm>
                <a:off x="1515054" y="4308712"/>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0 h 361971"/>
                  <a:gd name="connsiteX7" fmla="*/ 180835 w 362309"/>
                  <a:gd name="connsiteY7" fmla="*/ 349204 h 361971"/>
                  <a:gd name="connsiteX8" fmla="*/ 12780 w 362309"/>
                  <a:gd name="connsiteY8" fmla="*/ 180667 h 361971"/>
                  <a:gd name="connsiteX9" fmla="*/ 180835 w 362309"/>
                  <a:gd name="connsiteY9" fmla="*/ 12768 h 361971"/>
                  <a:gd name="connsiteX10" fmla="*/ 349529 w 362309"/>
                  <a:gd name="connsiteY10" fmla="*/ 181305 h 361971"/>
                  <a:gd name="connsiteX11" fmla="*/ 349529 w 362309"/>
                  <a:gd name="connsiteY11" fmla="*/ 181305 h 361971"/>
                  <a:gd name="connsiteX12" fmla="*/ 180835 w 362309"/>
                  <a:gd name="connsiteY12" fmla="*/ 349204 h 361971"/>
                  <a:gd name="connsiteX13" fmla="*/ 180835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1077"/>
                      <a:pt x="281157" y="0"/>
                      <a:pt x="180835" y="0"/>
                    </a:cubicBezTo>
                    <a:cubicBezTo>
                      <a:pt x="180835" y="0"/>
                      <a:pt x="180835" y="0"/>
                      <a:pt x="180835" y="0"/>
                    </a:cubicBezTo>
                    <a:close/>
                    <a:moveTo>
                      <a:pt x="180835" y="349204"/>
                    </a:moveTo>
                    <a:cubicBezTo>
                      <a:pt x="87542" y="349204"/>
                      <a:pt x="12780" y="273873"/>
                      <a:pt x="12780" y="180667"/>
                    </a:cubicBezTo>
                    <a:cubicBezTo>
                      <a:pt x="12780" y="87461"/>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595C29C3-7036-F3B9-D451-BA05E9676792}"/>
                  </a:ext>
                </a:extLst>
              </p:cNvPr>
              <p:cNvSpPr/>
              <p:nvPr/>
            </p:nvSpPr>
            <p:spPr>
              <a:xfrm>
                <a:off x="1611542" y="4406387"/>
                <a:ext cx="166138" cy="165983"/>
              </a:xfrm>
              <a:custGeom>
                <a:avLst/>
                <a:gdLst>
                  <a:gd name="connsiteX0" fmla="*/ 83069 w 166138"/>
                  <a:gd name="connsiteY0" fmla="*/ 0 h 165983"/>
                  <a:gd name="connsiteX1" fmla="*/ 0 w 166138"/>
                  <a:gd name="connsiteY1" fmla="*/ 82992 h 165983"/>
                  <a:gd name="connsiteX2" fmla="*/ 83069 w 166138"/>
                  <a:gd name="connsiteY2" fmla="*/ 165984 h 165983"/>
                  <a:gd name="connsiteX3" fmla="*/ 166138 w 166138"/>
                  <a:gd name="connsiteY3" fmla="*/ 82992 h 165983"/>
                  <a:gd name="connsiteX4" fmla="*/ 83069 w 166138"/>
                  <a:gd name="connsiteY4" fmla="*/ 0 h 165983"/>
                  <a:gd name="connsiteX5" fmla="*/ 83069 w 166138"/>
                  <a:gd name="connsiteY5" fmla="*/ 0 h 165983"/>
                  <a:gd name="connsiteX6" fmla="*/ 27477 w 166138"/>
                  <a:gd name="connsiteY6" fmla="*/ 125765 h 165983"/>
                  <a:gd name="connsiteX7" fmla="*/ 58787 w 166138"/>
                  <a:gd name="connsiteY7" fmla="*/ 94483 h 165983"/>
                  <a:gd name="connsiteX8" fmla="*/ 60065 w 166138"/>
                  <a:gd name="connsiteY8" fmla="*/ 87461 h 165983"/>
                  <a:gd name="connsiteX9" fmla="*/ 58787 w 166138"/>
                  <a:gd name="connsiteY9" fmla="*/ 82992 h 165983"/>
                  <a:gd name="connsiteX10" fmla="*/ 58787 w 166138"/>
                  <a:gd name="connsiteY10" fmla="*/ 81715 h 165983"/>
                  <a:gd name="connsiteX11" fmla="*/ 64538 w 166138"/>
                  <a:gd name="connsiteY11" fmla="*/ 53626 h 165983"/>
                  <a:gd name="connsiteX12" fmla="*/ 85625 w 166138"/>
                  <a:gd name="connsiteY12" fmla="*/ 39581 h 165983"/>
                  <a:gd name="connsiteX13" fmla="*/ 71567 w 166138"/>
                  <a:gd name="connsiteY13" fmla="*/ 52987 h 165983"/>
                  <a:gd name="connsiteX14" fmla="*/ 69650 w 166138"/>
                  <a:gd name="connsiteY14" fmla="*/ 58733 h 165983"/>
                  <a:gd name="connsiteX15" fmla="*/ 76040 w 166138"/>
                  <a:gd name="connsiteY15" fmla="*/ 85546 h 165983"/>
                  <a:gd name="connsiteX16" fmla="*/ 81152 w 166138"/>
                  <a:gd name="connsiteY16" fmla="*/ 90653 h 165983"/>
                  <a:gd name="connsiteX17" fmla="*/ 107990 w 166138"/>
                  <a:gd name="connsiteY17" fmla="*/ 97037 h 165983"/>
                  <a:gd name="connsiteX18" fmla="*/ 113741 w 166138"/>
                  <a:gd name="connsiteY18" fmla="*/ 95121 h 165983"/>
                  <a:gd name="connsiteX19" fmla="*/ 127160 w 166138"/>
                  <a:gd name="connsiteY19" fmla="*/ 81715 h 165983"/>
                  <a:gd name="connsiteX20" fmla="*/ 117575 w 166138"/>
                  <a:gd name="connsiteY20" fmla="*/ 98952 h 165983"/>
                  <a:gd name="connsiteX21" fmla="*/ 84347 w 166138"/>
                  <a:gd name="connsiteY21" fmla="*/ 108528 h 165983"/>
                  <a:gd name="connsiteX22" fmla="*/ 83708 w 166138"/>
                  <a:gd name="connsiteY22" fmla="*/ 108528 h 165983"/>
                  <a:gd name="connsiteX23" fmla="*/ 79235 w 166138"/>
                  <a:gd name="connsiteY23" fmla="*/ 107251 h 165983"/>
                  <a:gd name="connsiteX24" fmla="*/ 72206 w 166138"/>
                  <a:gd name="connsiteY24" fmla="*/ 108528 h 165983"/>
                  <a:gd name="connsiteX25" fmla="*/ 40896 w 166138"/>
                  <a:gd name="connsiteY25" fmla="*/ 139809 h 165983"/>
                  <a:gd name="connsiteX26" fmla="*/ 27477 w 166138"/>
                  <a:gd name="connsiteY26" fmla="*/ 125765 h 165983"/>
                  <a:gd name="connsiteX27" fmla="*/ 27477 w 166138"/>
                  <a:gd name="connsiteY27" fmla="*/ 125765 h 165983"/>
                  <a:gd name="connsiteX28" fmla="*/ 83069 w 166138"/>
                  <a:gd name="connsiteY28" fmla="*/ 153216 h 165983"/>
                  <a:gd name="connsiteX29" fmla="*/ 52397 w 166138"/>
                  <a:gd name="connsiteY29" fmla="*/ 146193 h 165983"/>
                  <a:gd name="connsiteX30" fmla="*/ 78596 w 166138"/>
                  <a:gd name="connsiteY30" fmla="*/ 120019 h 165983"/>
                  <a:gd name="connsiteX31" fmla="*/ 80513 w 166138"/>
                  <a:gd name="connsiteY31" fmla="*/ 120657 h 165983"/>
                  <a:gd name="connsiteX32" fmla="*/ 81152 w 166138"/>
                  <a:gd name="connsiteY32" fmla="*/ 120657 h 165983"/>
                  <a:gd name="connsiteX33" fmla="*/ 139301 w 166138"/>
                  <a:gd name="connsiteY33" fmla="*/ 86184 h 165983"/>
                  <a:gd name="connsiteX34" fmla="*/ 140579 w 166138"/>
                  <a:gd name="connsiteY34" fmla="*/ 70862 h 165983"/>
                  <a:gd name="connsiteX35" fmla="*/ 134828 w 166138"/>
                  <a:gd name="connsiteY35" fmla="*/ 63202 h 165983"/>
                  <a:gd name="connsiteX36" fmla="*/ 125243 w 166138"/>
                  <a:gd name="connsiteY36" fmla="*/ 65117 h 165983"/>
                  <a:gd name="connsiteX37" fmla="*/ 106712 w 166138"/>
                  <a:gd name="connsiteY37" fmla="*/ 83630 h 165983"/>
                  <a:gd name="connsiteX38" fmla="*/ 87542 w 166138"/>
                  <a:gd name="connsiteY38" fmla="*/ 79162 h 165983"/>
                  <a:gd name="connsiteX39" fmla="*/ 83069 w 166138"/>
                  <a:gd name="connsiteY39" fmla="*/ 60010 h 165983"/>
                  <a:gd name="connsiteX40" fmla="*/ 101600 w 166138"/>
                  <a:gd name="connsiteY40" fmla="*/ 41496 h 165983"/>
                  <a:gd name="connsiteX41" fmla="*/ 103517 w 166138"/>
                  <a:gd name="connsiteY41" fmla="*/ 31920 h 165983"/>
                  <a:gd name="connsiteX42" fmla="*/ 95849 w 166138"/>
                  <a:gd name="connsiteY42" fmla="*/ 26175 h 165983"/>
                  <a:gd name="connsiteX43" fmla="*/ 44730 w 166138"/>
                  <a:gd name="connsiteY43" fmla="*/ 70862 h 165983"/>
                  <a:gd name="connsiteX44" fmla="*/ 46008 w 166138"/>
                  <a:gd name="connsiteY44" fmla="*/ 86184 h 165983"/>
                  <a:gd name="connsiteX45" fmla="*/ 46647 w 166138"/>
                  <a:gd name="connsiteY45" fmla="*/ 87461 h 165983"/>
                  <a:gd name="connsiteX46" fmla="*/ 46647 w 166138"/>
                  <a:gd name="connsiteY46" fmla="*/ 88738 h 165983"/>
                  <a:gd name="connsiteX47" fmla="*/ 20448 w 166138"/>
                  <a:gd name="connsiteY47" fmla="*/ 114912 h 165983"/>
                  <a:gd name="connsiteX48" fmla="*/ 12780 w 166138"/>
                  <a:gd name="connsiteY48" fmla="*/ 82992 h 165983"/>
                  <a:gd name="connsiteX49" fmla="*/ 83069 w 166138"/>
                  <a:gd name="connsiteY49" fmla="*/ 12768 h 165983"/>
                  <a:gd name="connsiteX50" fmla="*/ 153359 w 166138"/>
                  <a:gd name="connsiteY50" fmla="*/ 82992 h 165983"/>
                  <a:gd name="connsiteX51" fmla="*/ 83069 w 166138"/>
                  <a:gd name="connsiteY51" fmla="*/ 153216 h 165983"/>
                  <a:gd name="connsiteX52" fmla="*/ 83069 w 166138"/>
                  <a:gd name="connsiteY52" fmla="*/ 153216 h 165983"/>
                  <a:gd name="connsiteX53" fmla="*/ 83069 w 166138"/>
                  <a:gd name="connsiteY53" fmla="*/ 153216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66138" h="165983">
                    <a:moveTo>
                      <a:pt x="83069" y="0"/>
                    </a:moveTo>
                    <a:cubicBezTo>
                      <a:pt x="37062" y="0"/>
                      <a:pt x="0" y="37027"/>
                      <a:pt x="0" y="82992"/>
                    </a:cubicBezTo>
                    <a:cubicBezTo>
                      <a:pt x="0" y="128957"/>
                      <a:pt x="37062" y="165984"/>
                      <a:pt x="83069" y="165984"/>
                    </a:cubicBezTo>
                    <a:cubicBezTo>
                      <a:pt x="129077" y="165984"/>
                      <a:pt x="166138" y="128957"/>
                      <a:pt x="166138" y="82992"/>
                    </a:cubicBezTo>
                    <a:cubicBezTo>
                      <a:pt x="166138" y="37027"/>
                      <a:pt x="129077" y="0"/>
                      <a:pt x="83069" y="0"/>
                    </a:cubicBezTo>
                    <a:lnTo>
                      <a:pt x="83069" y="0"/>
                    </a:lnTo>
                    <a:close/>
                    <a:moveTo>
                      <a:pt x="27477" y="125765"/>
                    </a:moveTo>
                    <a:lnTo>
                      <a:pt x="58787" y="94483"/>
                    </a:lnTo>
                    <a:cubicBezTo>
                      <a:pt x="60705" y="92568"/>
                      <a:pt x="61343" y="90014"/>
                      <a:pt x="60065" y="87461"/>
                    </a:cubicBezTo>
                    <a:cubicBezTo>
                      <a:pt x="59426" y="86184"/>
                      <a:pt x="58787" y="84269"/>
                      <a:pt x="58787" y="82992"/>
                    </a:cubicBezTo>
                    <a:cubicBezTo>
                      <a:pt x="58787" y="82992"/>
                      <a:pt x="58787" y="82354"/>
                      <a:pt x="58787" y="81715"/>
                    </a:cubicBezTo>
                    <a:cubicBezTo>
                      <a:pt x="56871" y="72139"/>
                      <a:pt x="58787" y="61925"/>
                      <a:pt x="64538" y="53626"/>
                    </a:cubicBezTo>
                    <a:cubicBezTo>
                      <a:pt x="69650" y="46603"/>
                      <a:pt x="77318" y="41496"/>
                      <a:pt x="85625" y="39581"/>
                    </a:cubicBezTo>
                    <a:lnTo>
                      <a:pt x="71567" y="52987"/>
                    </a:lnTo>
                    <a:cubicBezTo>
                      <a:pt x="70289" y="54264"/>
                      <a:pt x="69650" y="56818"/>
                      <a:pt x="69650" y="58733"/>
                    </a:cubicBezTo>
                    <a:lnTo>
                      <a:pt x="76040" y="85546"/>
                    </a:lnTo>
                    <a:cubicBezTo>
                      <a:pt x="76679" y="88099"/>
                      <a:pt x="78596" y="90014"/>
                      <a:pt x="81152" y="90653"/>
                    </a:cubicBezTo>
                    <a:lnTo>
                      <a:pt x="107990" y="97037"/>
                    </a:lnTo>
                    <a:cubicBezTo>
                      <a:pt x="109907" y="97675"/>
                      <a:pt x="112463" y="97037"/>
                      <a:pt x="113741" y="95121"/>
                    </a:cubicBezTo>
                    <a:lnTo>
                      <a:pt x="127160" y="81715"/>
                    </a:lnTo>
                    <a:cubicBezTo>
                      <a:pt x="125882" y="88099"/>
                      <a:pt x="122687" y="94483"/>
                      <a:pt x="117575" y="98952"/>
                    </a:cubicBezTo>
                    <a:cubicBezTo>
                      <a:pt x="109268" y="107889"/>
                      <a:pt x="96488" y="111081"/>
                      <a:pt x="84347" y="108528"/>
                    </a:cubicBezTo>
                    <a:lnTo>
                      <a:pt x="83708" y="108528"/>
                    </a:lnTo>
                    <a:cubicBezTo>
                      <a:pt x="82430" y="107889"/>
                      <a:pt x="80513" y="107889"/>
                      <a:pt x="79235" y="107251"/>
                    </a:cubicBezTo>
                    <a:cubicBezTo>
                      <a:pt x="76679" y="105974"/>
                      <a:pt x="74123" y="106613"/>
                      <a:pt x="72206" y="108528"/>
                    </a:cubicBezTo>
                    <a:lnTo>
                      <a:pt x="40896" y="139809"/>
                    </a:lnTo>
                    <a:cubicBezTo>
                      <a:pt x="35784" y="135979"/>
                      <a:pt x="31311" y="130872"/>
                      <a:pt x="27477" y="125765"/>
                    </a:cubicBezTo>
                    <a:lnTo>
                      <a:pt x="27477" y="125765"/>
                    </a:lnTo>
                    <a:close/>
                    <a:moveTo>
                      <a:pt x="83069" y="153216"/>
                    </a:moveTo>
                    <a:cubicBezTo>
                      <a:pt x="72206" y="153216"/>
                      <a:pt x="61982" y="150662"/>
                      <a:pt x="52397" y="146193"/>
                    </a:cubicBezTo>
                    <a:lnTo>
                      <a:pt x="78596" y="120019"/>
                    </a:lnTo>
                    <a:lnTo>
                      <a:pt x="80513" y="120657"/>
                    </a:lnTo>
                    <a:lnTo>
                      <a:pt x="81152" y="120657"/>
                    </a:lnTo>
                    <a:cubicBezTo>
                      <a:pt x="106712" y="127041"/>
                      <a:pt x="132911" y="111720"/>
                      <a:pt x="139301" y="86184"/>
                    </a:cubicBezTo>
                    <a:cubicBezTo>
                      <a:pt x="140579" y="81077"/>
                      <a:pt x="141218" y="75970"/>
                      <a:pt x="140579" y="70862"/>
                    </a:cubicBezTo>
                    <a:cubicBezTo>
                      <a:pt x="140579" y="67670"/>
                      <a:pt x="138023" y="64478"/>
                      <a:pt x="134828" y="63202"/>
                    </a:cubicBezTo>
                    <a:cubicBezTo>
                      <a:pt x="131633" y="61925"/>
                      <a:pt x="127799" y="62563"/>
                      <a:pt x="125243" y="65117"/>
                    </a:cubicBezTo>
                    <a:lnTo>
                      <a:pt x="106712" y="83630"/>
                    </a:lnTo>
                    <a:lnTo>
                      <a:pt x="87542" y="79162"/>
                    </a:lnTo>
                    <a:lnTo>
                      <a:pt x="83069" y="60010"/>
                    </a:lnTo>
                    <a:lnTo>
                      <a:pt x="101600" y="41496"/>
                    </a:lnTo>
                    <a:cubicBezTo>
                      <a:pt x="104156" y="38943"/>
                      <a:pt x="104795" y="35751"/>
                      <a:pt x="103517" y="31920"/>
                    </a:cubicBezTo>
                    <a:cubicBezTo>
                      <a:pt x="102239" y="28728"/>
                      <a:pt x="99044" y="26175"/>
                      <a:pt x="95849" y="26175"/>
                    </a:cubicBezTo>
                    <a:cubicBezTo>
                      <a:pt x="69650" y="24259"/>
                      <a:pt x="46647" y="44050"/>
                      <a:pt x="44730" y="70862"/>
                    </a:cubicBezTo>
                    <a:cubicBezTo>
                      <a:pt x="44091" y="75970"/>
                      <a:pt x="44730" y="81077"/>
                      <a:pt x="46008" y="86184"/>
                    </a:cubicBezTo>
                    <a:cubicBezTo>
                      <a:pt x="46008" y="86822"/>
                      <a:pt x="46008" y="86822"/>
                      <a:pt x="46647" y="87461"/>
                    </a:cubicBezTo>
                    <a:lnTo>
                      <a:pt x="46647" y="88738"/>
                    </a:lnTo>
                    <a:lnTo>
                      <a:pt x="20448" y="114912"/>
                    </a:lnTo>
                    <a:cubicBezTo>
                      <a:pt x="15336" y="105336"/>
                      <a:pt x="12780" y="93845"/>
                      <a:pt x="12780" y="82992"/>
                    </a:cubicBezTo>
                    <a:cubicBezTo>
                      <a:pt x="12780" y="44050"/>
                      <a:pt x="44091" y="12768"/>
                      <a:pt x="83069" y="12768"/>
                    </a:cubicBezTo>
                    <a:cubicBezTo>
                      <a:pt x="122048" y="12768"/>
                      <a:pt x="153359" y="44050"/>
                      <a:pt x="153359" y="82992"/>
                    </a:cubicBezTo>
                    <a:cubicBezTo>
                      <a:pt x="153359" y="121934"/>
                      <a:pt x="122048" y="153216"/>
                      <a:pt x="83069" y="153216"/>
                    </a:cubicBezTo>
                    <a:cubicBezTo>
                      <a:pt x="83069" y="153216"/>
                      <a:pt x="83069" y="153216"/>
                      <a:pt x="83069" y="153216"/>
                    </a:cubicBezTo>
                    <a:lnTo>
                      <a:pt x="83069" y="153216"/>
                    </a:lnTo>
                    <a:close/>
                  </a:path>
                </a:pathLst>
              </a:custGeom>
              <a:grpFill/>
              <a:ln w="6390"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CDB81D64-840A-47C2-D67F-9077FE24102B}"/>
                  </a:ext>
                </a:extLst>
              </p:cNvPr>
              <p:cNvSpPr/>
              <p:nvPr/>
            </p:nvSpPr>
            <p:spPr>
              <a:xfrm>
                <a:off x="1572321" y="4364131"/>
                <a:ext cx="247532" cy="250373"/>
              </a:xfrm>
              <a:custGeom>
                <a:avLst/>
                <a:gdLst>
                  <a:gd name="connsiteX0" fmla="*/ 240503 w 247532"/>
                  <a:gd name="connsiteY0" fmla="*/ 102903 h 250373"/>
                  <a:gd name="connsiteX1" fmla="*/ 224529 w 247532"/>
                  <a:gd name="connsiteY1" fmla="*/ 97158 h 250373"/>
                  <a:gd name="connsiteX2" fmla="*/ 218778 w 247532"/>
                  <a:gd name="connsiteY2" fmla="*/ 81198 h 250373"/>
                  <a:gd name="connsiteX3" fmla="*/ 227724 w 247532"/>
                  <a:gd name="connsiteY3" fmla="*/ 66515 h 250373"/>
                  <a:gd name="connsiteX4" fmla="*/ 227085 w 247532"/>
                  <a:gd name="connsiteY4" fmla="*/ 54385 h 250373"/>
                  <a:gd name="connsiteX5" fmla="*/ 211110 w 247532"/>
                  <a:gd name="connsiteY5" fmla="*/ 35233 h 250373"/>
                  <a:gd name="connsiteX6" fmla="*/ 198969 w 247532"/>
                  <a:gd name="connsiteY6" fmla="*/ 32041 h 250373"/>
                  <a:gd name="connsiteX7" fmla="*/ 182994 w 247532"/>
                  <a:gd name="connsiteY7" fmla="*/ 38425 h 250373"/>
                  <a:gd name="connsiteX8" fmla="*/ 168297 w 247532"/>
                  <a:gd name="connsiteY8" fmla="*/ 30126 h 250373"/>
                  <a:gd name="connsiteX9" fmla="*/ 165741 w 247532"/>
                  <a:gd name="connsiteY9" fmla="*/ 13527 h 250373"/>
                  <a:gd name="connsiteX10" fmla="*/ 156795 w 247532"/>
                  <a:gd name="connsiteY10" fmla="*/ 4590 h 250373"/>
                  <a:gd name="connsiteX11" fmla="*/ 132513 w 247532"/>
                  <a:gd name="connsiteY11" fmla="*/ 121 h 250373"/>
                  <a:gd name="connsiteX12" fmla="*/ 121012 w 247532"/>
                  <a:gd name="connsiteY12" fmla="*/ 5228 h 250373"/>
                  <a:gd name="connsiteX13" fmla="*/ 112705 w 247532"/>
                  <a:gd name="connsiteY13" fmla="*/ 19911 h 250373"/>
                  <a:gd name="connsiteX14" fmla="*/ 96091 w 247532"/>
                  <a:gd name="connsiteY14" fmla="*/ 23103 h 250373"/>
                  <a:gd name="connsiteX15" fmla="*/ 83311 w 247532"/>
                  <a:gd name="connsiteY15" fmla="*/ 11612 h 250373"/>
                  <a:gd name="connsiteX16" fmla="*/ 71170 w 247532"/>
                  <a:gd name="connsiteY16" fmla="*/ 10335 h 250373"/>
                  <a:gd name="connsiteX17" fmla="*/ 49444 w 247532"/>
                  <a:gd name="connsiteY17" fmla="*/ 22465 h 250373"/>
                  <a:gd name="connsiteX18" fmla="*/ 44332 w 247532"/>
                  <a:gd name="connsiteY18" fmla="*/ 33956 h 250373"/>
                  <a:gd name="connsiteX19" fmla="*/ 47527 w 247532"/>
                  <a:gd name="connsiteY19" fmla="*/ 50555 h 250373"/>
                  <a:gd name="connsiteX20" fmla="*/ 36664 w 247532"/>
                  <a:gd name="connsiteY20" fmla="*/ 63323 h 250373"/>
                  <a:gd name="connsiteX21" fmla="*/ 19412 w 247532"/>
                  <a:gd name="connsiteY21" fmla="*/ 63323 h 250373"/>
                  <a:gd name="connsiteX22" fmla="*/ 9188 w 247532"/>
                  <a:gd name="connsiteY22" fmla="*/ 70345 h 250373"/>
                  <a:gd name="connsiteX23" fmla="*/ 881 w 247532"/>
                  <a:gd name="connsiteY23" fmla="*/ 93327 h 250373"/>
                  <a:gd name="connsiteX24" fmla="*/ 4076 w 247532"/>
                  <a:gd name="connsiteY24" fmla="*/ 105457 h 250373"/>
                  <a:gd name="connsiteX25" fmla="*/ 17495 w 247532"/>
                  <a:gd name="connsiteY25" fmla="*/ 116309 h 250373"/>
                  <a:gd name="connsiteX26" fmla="*/ 17495 w 247532"/>
                  <a:gd name="connsiteY26" fmla="*/ 133546 h 250373"/>
                  <a:gd name="connsiteX27" fmla="*/ 4076 w 247532"/>
                  <a:gd name="connsiteY27" fmla="*/ 144399 h 250373"/>
                  <a:gd name="connsiteX28" fmla="*/ 881 w 247532"/>
                  <a:gd name="connsiteY28" fmla="*/ 156529 h 250373"/>
                  <a:gd name="connsiteX29" fmla="*/ 9188 w 247532"/>
                  <a:gd name="connsiteY29" fmla="*/ 179511 h 250373"/>
                  <a:gd name="connsiteX30" fmla="*/ 19412 w 247532"/>
                  <a:gd name="connsiteY30" fmla="*/ 186533 h 250373"/>
                  <a:gd name="connsiteX31" fmla="*/ 36664 w 247532"/>
                  <a:gd name="connsiteY31" fmla="*/ 186533 h 250373"/>
                  <a:gd name="connsiteX32" fmla="*/ 47527 w 247532"/>
                  <a:gd name="connsiteY32" fmla="*/ 199301 h 250373"/>
                  <a:gd name="connsiteX33" fmla="*/ 44332 w 247532"/>
                  <a:gd name="connsiteY33" fmla="*/ 215899 h 250373"/>
                  <a:gd name="connsiteX34" fmla="*/ 49444 w 247532"/>
                  <a:gd name="connsiteY34" fmla="*/ 227391 h 250373"/>
                  <a:gd name="connsiteX35" fmla="*/ 71170 w 247532"/>
                  <a:gd name="connsiteY35" fmla="*/ 239520 h 250373"/>
                  <a:gd name="connsiteX36" fmla="*/ 83311 w 247532"/>
                  <a:gd name="connsiteY36" fmla="*/ 238243 h 250373"/>
                  <a:gd name="connsiteX37" fmla="*/ 96091 w 247532"/>
                  <a:gd name="connsiteY37" fmla="*/ 226752 h 250373"/>
                  <a:gd name="connsiteX38" fmla="*/ 112705 w 247532"/>
                  <a:gd name="connsiteY38" fmla="*/ 229944 h 250373"/>
                  <a:gd name="connsiteX39" fmla="*/ 121012 w 247532"/>
                  <a:gd name="connsiteY39" fmla="*/ 244627 h 250373"/>
                  <a:gd name="connsiteX40" fmla="*/ 130596 w 247532"/>
                  <a:gd name="connsiteY40" fmla="*/ 250373 h 250373"/>
                  <a:gd name="connsiteX41" fmla="*/ 132513 w 247532"/>
                  <a:gd name="connsiteY41" fmla="*/ 250373 h 250373"/>
                  <a:gd name="connsiteX42" fmla="*/ 156795 w 247532"/>
                  <a:gd name="connsiteY42" fmla="*/ 245904 h 250373"/>
                  <a:gd name="connsiteX43" fmla="*/ 165741 w 247532"/>
                  <a:gd name="connsiteY43" fmla="*/ 236967 h 250373"/>
                  <a:gd name="connsiteX44" fmla="*/ 168297 w 247532"/>
                  <a:gd name="connsiteY44" fmla="*/ 219730 h 250373"/>
                  <a:gd name="connsiteX45" fmla="*/ 182994 w 247532"/>
                  <a:gd name="connsiteY45" fmla="*/ 211431 h 250373"/>
                  <a:gd name="connsiteX46" fmla="*/ 198969 w 247532"/>
                  <a:gd name="connsiteY46" fmla="*/ 217815 h 250373"/>
                  <a:gd name="connsiteX47" fmla="*/ 211110 w 247532"/>
                  <a:gd name="connsiteY47" fmla="*/ 214623 h 250373"/>
                  <a:gd name="connsiteX48" fmla="*/ 227085 w 247532"/>
                  <a:gd name="connsiteY48" fmla="*/ 195471 h 250373"/>
                  <a:gd name="connsiteX49" fmla="*/ 227724 w 247532"/>
                  <a:gd name="connsiteY49" fmla="*/ 182703 h 250373"/>
                  <a:gd name="connsiteX50" fmla="*/ 218778 w 247532"/>
                  <a:gd name="connsiteY50" fmla="*/ 168020 h 250373"/>
                  <a:gd name="connsiteX51" fmla="*/ 224529 w 247532"/>
                  <a:gd name="connsiteY51" fmla="*/ 152060 h 250373"/>
                  <a:gd name="connsiteX52" fmla="*/ 240503 w 247532"/>
                  <a:gd name="connsiteY52" fmla="*/ 146314 h 250373"/>
                  <a:gd name="connsiteX53" fmla="*/ 247532 w 247532"/>
                  <a:gd name="connsiteY53" fmla="*/ 136100 h 250373"/>
                  <a:gd name="connsiteX54" fmla="*/ 247532 w 247532"/>
                  <a:gd name="connsiteY54" fmla="*/ 111202 h 250373"/>
                  <a:gd name="connsiteX55" fmla="*/ 240503 w 247532"/>
                  <a:gd name="connsiteY55" fmla="*/ 102903 h 250373"/>
                  <a:gd name="connsiteX56" fmla="*/ 234752 w 247532"/>
                  <a:gd name="connsiteY56" fmla="*/ 136100 h 250373"/>
                  <a:gd name="connsiteX57" fmla="*/ 216861 w 247532"/>
                  <a:gd name="connsiteY57" fmla="*/ 141845 h 250373"/>
                  <a:gd name="connsiteX58" fmla="*/ 213027 w 247532"/>
                  <a:gd name="connsiteY58" fmla="*/ 145676 h 250373"/>
                  <a:gd name="connsiteX59" fmla="*/ 205359 w 247532"/>
                  <a:gd name="connsiteY59" fmla="*/ 167381 h 250373"/>
                  <a:gd name="connsiteX60" fmla="*/ 205998 w 247532"/>
                  <a:gd name="connsiteY60" fmla="*/ 173127 h 250373"/>
                  <a:gd name="connsiteX61" fmla="*/ 215583 w 247532"/>
                  <a:gd name="connsiteY61" fmla="*/ 189087 h 250373"/>
                  <a:gd name="connsiteX62" fmla="*/ 201525 w 247532"/>
                  <a:gd name="connsiteY62" fmla="*/ 205685 h 250373"/>
                  <a:gd name="connsiteX63" fmla="*/ 184272 w 247532"/>
                  <a:gd name="connsiteY63" fmla="*/ 198663 h 250373"/>
                  <a:gd name="connsiteX64" fmla="*/ 178521 w 247532"/>
                  <a:gd name="connsiteY64" fmla="*/ 199301 h 250373"/>
                  <a:gd name="connsiteX65" fmla="*/ 158712 w 247532"/>
                  <a:gd name="connsiteY65" fmla="*/ 210792 h 250373"/>
                  <a:gd name="connsiteX66" fmla="*/ 155517 w 247532"/>
                  <a:gd name="connsiteY66" fmla="*/ 215261 h 250373"/>
                  <a:gd name="connsiteX67" fmla="*/ 152322 w 247532"/>
                  <a:gd name="connsiteY67" fmla="*/ 233775 h 250373"/>
                  <a:gd name="connsiteX68" fmla="*/ 130596 w 247532"/>
                  <a:gd name="connsiteY68" fmla="*/ 237605 h 250373"/>
                  <a:gd name="connsiteX69" fmla="*/ 121651 w 247532"/>
                  <a:gd name="connsiteY69" fmla="*/ 221007 h 250373"/>
                  <a:gd name="connsiteX70" fmla="*/ 117178 w 247532"/>
                  <a:gd name="connsiteY70" fmla="*/ 217815 h 250373"/>
                  <a:gd name="connsiteX71" fmla="*/ 94174 w 247532"/>
                  <a:gd name="connsiteY71" fmla="*/ 213984 h 250373"/>
                  <a:gd name="connsiteX72" fmla="*/ 92896 w 247532"/>
                  <a:gd name="connsiteY72" fmla="*/ 213984 h 250373"/>
                  <a:gd name="connsiteX73" fmla="*/ 88423 w 247532"/>
                  <a:gd name="connsiteY73" fmla="*/ 215261 h 250373"/>
                  <a:gd name="connsiteX74" fmla="*/ 74365 w 247532"/>
                  <a:gd name="connsiteY74" fmla="*/ 227391 h 250373"/>
                  <a:gd name="connsiteX75" fmla="*/ 55195 w 247532"/>
                  <a:gd name="connsiteY75" fmla="*/ 216538 h 250373"/>
                  <a:gd name="connsiteX76" fmla="*/ 59029 w 247532"/>
                  <a:gd name="connsiteY76" fmla="*/ 198024 h 250373"/>
                  <a:gd name="connsiteX77" fmla="*/ 57751 w 247532"/>
                  <a:gd name="connsiteY77" fmla="*/ 192917 h 250373"/>
                  <a:gd name="connsiteX78" fmla="*/ 43054 w 247532"/>
                  <a:gd name="connsiteY78" fmla="*/ 175042 h 250373"/>
                  <a:gd name="connsiteX79" fmla="*/ 37942 w 247532"/>
                  <a:gd name="connsiteY79" fmla="*/ 172488 h 250373"/>
                  <a:gd name="connsiteX80" fmla="*/ 19412 w 247532"/>
                  <a:gd name="connsiteY80" fmla="*/ 173127 h 250373"/>
                  <a:gd name="connsiteX81" fmla="*/ 12383 w 247532"/>
                  <a:gd name="connsiteY81" fmla="*/ 153337 h 250373"/>
                  <a:gd name="connsiteX82" fmla="*/ 27079 w 247532"/>
                  <a:gd name="connsiteY82" fmla="*/ 141845 h 250373"/>
                  <a:gd name="connsiteX83" fmla="*/ 29635 w 247532"/>
                  <a:gd name="connsiteY83" fmla="*/ 136738 h 250373"/>
                  <a:gd name="connsiteX84" fmla="*/ 29635 w 247532"/>
                  <a:gd name="connsiteY84" fmla="*/ 113756 h 250373"/>
                  <a:gd name="connsiteX85" fmla="*/ 27079 w 247532"/>
                  <a:gd name="connsiteY85" fmla="*/ 108649 h 250373"/>
                  <a:gd name="connsiteX86" fmla="*/ 12383 w 247532"/>
                  <a:gd name="connsiteY86" fmla="*/ 97158 h 250373"/>
                  <a:gd name="connsiteX87" fmla="*/ 20051 w 247532"/>
                  <a:gd name="connsiteY87" fmla="*/ 76729 h 250373"/>
                  <a:gd name="connsiteX88" fmla="*/ 38581 w 247532"/>
                  <a:gd name="connsiteY88" fmla="*/ 77367 h 250373"/>
                  <a:gd name="connsiteX89" fmla="*/ 43693 w 247532"/>
                  <a:gd name="connsiteY89" fmla="*/ 74814 h 250373"/>
                  <a:gd name="connsiteX90" fmla="*/ 58390 w 247532"/>
                  <a:gd name="connsiteY90" fmla="*/ 56939 h 250373"/>
                  <a:gd name="connsiteX91" fmla="*/ 59668 w 247532"/>
                  <a:gd name="connsiteY91" fmla="*/ 51831 h 250373"/>
                  <a:gd name="connsiteX92" fmla="*/ 55834 w 247532"/>
                  <a:gd name="connsiteY92" fmla="*/ 33318 h 250373"/>
                  <a:gd name="connsiteX93" fmla="*/ 75004 w 247532"/>
                  <a:gd name="connsiteY93" fmla="*/ 22465 h 250373"/>
                  <a:gd name="connsiteX94" fmla="*/ 89062 w 247532"/>
                  <a:gd name="connsiteY94" fmla="*/ 34595 h 250373"/>
                  <a:gd name="connsiteX95" fmla="*/ 94174 w 247532"/>
                  <a:gd name="connsiteY95" fmla="*/ 35871 h 250373"/>
                  <a:gd name="connsiteX96" fmla="*/ 117178 w 247532"/>
                  <a:gd name="connsiteY96" fmla="*/ 32041 h 250373"/>
                  <a:gd name="connsiteX97" fmla="*/ 121651 w 247532"/>
                  <a:gd name="connsiteY97" fmla="*/ 28849 h 250373"/>
                  <a:gd name="connsiteX98" fmla="*/ 130596 w 247532"/>
                  <a:gd name="connsiteY98" fmla="*/ 12251 h 250373"/>
                  <a:gd name="connsiteX99" fmla="*/ 152322 w 247532"/>
                  <a:gd name="connsiteY99" fmla="*/ 16081 h 250373"/>
                  <a:gd name="connsiteX100" fmla="*/ 155517 w 247532"/>
                  <a:gd name="connsiteY100" fmla="*/ 34595 h 250373"/>
                  <a:gd name="connsiteX101" fmla="*/ 158712 w 247532"/>
                  <a:gd name="connsiteY101" fmla="*/ 39063 h 250373"/>
                  <a:gd name="connsiteX102" fmla="*/ 178521 w 247532"/>
                  <a:gd name="connsiteY102" fmla="*/ 50555 h 250373"/>
                  <a:gd name="connsiteX103" fmla="*/ 184272 w 247532"/>
                  <a:gd name="connsiteY103" fmla="*/ 51193 h 250373"/>
                  <a:gd name="connsiteX104" fmla="*/ 201525 w 247532"/>
                  <a:gd name="connsiteY104" fmla="*/ 44171 h 250373"/>
                  <a:gd name="connsiteX105" fmla="*/ 215583 w 247532"/>
                  <a:gd name="connsiteY105" fmla="*/ 60769 h 250373"/>
                  <a:gd name="connsiteX106" fmla="*/ 205998 w 247532"/>
                  <a:gd name="connsiteY106" fmla="*/ 76729 h 250373"/>
                  <a:gd name="connsiteX107" fmla="*/ 205359 w 247532"/>
                  <a:gd name="connsiteY107" fmla="*/ 82474 h 250373"/>
                  <a:gd name="connsiteX108" fmla="*/ 213027 w 247532"/>
                  <a:gd name="connsiteY108" fmla="*/ 104180 h 250373"/>
                  <a:gd name="connsiteX109" fmla="*/ 216861 w 247532"/>
                  <a:gd name="connsiteY109" fmla="*/ 108010 h 250373"/>
                  <a:gd name="connsiteX110" fmla="*/ 234752 w 247532"/>
                  <a:gd name="connsiteY110" fmla="*/ 114394 h 250373"/>
                  <a:gd name="connsiteX111" fmla="*/ 234752 w 247532"/>
                  <a:gd name="connsiteY111" fmla="*/ 136100 h 25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247532" h="250373">
                    <a:moveTo>
                      <a:pt x="240503" y="102903"/>
                    </a:moveTo>
                    <a:lnTo>
                      <a:pt x="224529" y="97158"/>
                    </a:lnTo>
                    <a:lnTo>
                      <a:pt x="218778" y="81198"/>
                    </a:lnTo>
                    <a:lnTo>
                      <a:pt x="227724" y="66515"/>
                    </a:lnTo>
                    <a:cubicBezTo>
                      <a:pt x="230280" y="62684"/>
                      <a:pt x="229640" y="57577"/>
                      <a:pt x="227085" y="54385"/>
                    </a:cubicBezTo>
                    <a:lnTo>
                      <a:pt x="211110" y="35233"/>
                    </a:lnTo>
                    <a:cubicBezTo>
                      <a:pt x="207915" y="32041"/>
                      <a:pt x="203442" y="30764"/>
                      <a:pt x="198969" y="32041"/>
                    </a:cubicBezTo>
                    <a:lnTo>
                      <a:pt x="182994" y="38425"/>
                    </a:lnTo>
                    <a:lnTo>
                      <a:pt x="168297" y="30126"/>
                    </a:lnTo>
                    <a:lnTo>
                      <a:pt x="165741" y="13527"/>
                    </a:lnTo>
                    <a:cubicBezTo>
                      <a:pt x="165102" y="9059"/>
                      <a:pt x="161268" y="5228"/>
                      <a:pt x="156795" y="4590"/>
                    </a:cubicBezTo>
                    <a:lnTo>
                      <a:pt x="132513" y="121"/>
                    </a:lnTo>
                    <a:cubicBezTo>
                      <a:pt x="128041" y="-517"/>
                      <a:pt x="123567" y="1398"/>
                      <a:pt x="121012" y="5228"/>
                    </a:cubicBezTo>
                    <a:lnTo>
                      <a:pt x="112705" y="19911"/>
                    </a:lnTo>
                    <a:lnTo>
                      <a:pt x="96091" y="23103"/>
                    </a:lnTo>
                    <a:lnTo>
                      <a:pt x="83311" y="11612"/>
                    </a:lnTo>
                    <a:cubicBezTo>
                      <a:pt x="80116" y="8420"/>
                      <a:pt x="75004" y="8420"/>
                      <a:pt x="71170" y="10335"/>
                    </a:cubicBezTo>
                    <a:lnTo>
                      <a:pt x="49444" y="22465"/>
                    </a:lnTo>
                    <a:cubicBezTo>
                      <a:pt x="45610" y="25019"/>
                      <a:pt x="43693" y="29487"/>
                      <a:pt x="44332" y="33956"/>
                    </a:cubicBezTo>
                    <a:lnTo>
                      <a:pt x="47527" y="50555"/>
                    </a:lnTo>
                    <a:lnTo>
                      <a:pt x="36664" y="63323"/>
                    </a:lnTo>
                    <a:lnTo>
                      <a:pt x="19412" y="63323"/>
                    </a:lnTo>
                    <a:cubicBezTo>
                      <a:pt x="14939" y="63323"/>
                      <a:pt x="10466" y="65876"/>
                      <a:pt x="9188" y="70345"/>
                    </a:cubicBezTo>
                    <a:lnTo>
                      <a:pt x="881" y="93327"/>
                    </a:lnTo>
                    <a:cubicBezTo>
                      <a:pt x="-1036" y="97796"/>
                      <a:pt x="881" y="102265"/>
                      <a:pt x="4076" y="105457"/>
                    </a:cubicBezTo>
                    <a:lnTo>
                      <a:pt x="17495" y="116309"/>
                    </a:lnTo>
                    <a:lnTo>
                      <a:pt x="17495" y="133546"/>
                    </a:lnTo>
                    <a:lnTo>
                      <a:pt x="4076" y="144399"/>
                    </a:lnTo>
                    <a:cubicBezTo>
                      <a:pt x="242" y="146953"/>
                      <a:pt x="-1036" y="152060"/>
                      <a:pt x="881" y="156529"/>
                    </a:cubicBezTo>
                    <a:lnTo>
                      <a:pt x="9188" y="179511"/>
                    </a:lnTo>
                    <a:cubicBezTo>
                      <a:pt x="11105" y="183980"/>
                      <a:pt x="14939" y="186533"/>
                      <a:pt x="19412" y="186533"/>
                    </a:cubicBezTo>
                    <a:lnTo>
                      <a:pt x="36664" y="186533"/>
                    </a:lnTo>
                    <a:lnTo>
                      <a:pt x="47527" y="199301"/>
                    </a:lnTo>
                    <a:lnTo>
                      <a:pt x="44332" y="215899"/>
                    </a:lnTo>
                    <a:cubicBezTo>
                      <a:pt x="43693" y="220368"/>
                      <a:pt x="45610" y="224837"/>
                      <a:pt x="49444" y="227391"/>
                    </a:cubicBezTo>
                    <a:lnTo>
                      <a:pt x="71170" y="239520"/>
                    </a:lnTo>
                    <a:cubicBezTo>
                      <a:pt x="75004" y="242074"/>
                      <a:pt x="80116" y="241435"/>
                      <a:pt x="83311" y="238243"/>
                    </a:cubicBezTo>
                    <a:lnTo>
                      <a:pt x="96091" y="226752"/>
                    </a:lnTo>
                    <a:lnTo>
                      <a:pt x="112705" y="229944"/>
                    </a:lnTo>
                    <a:lnTo>
                      <a:pt x="121012" y="244627"/>
                    </a:lnTo>
                    <a:cubicBezTo>
                      <a:pt x="122928" y="247819"/>
                      <a:pt x="126762" y="250373"/>
                      <a:pt x="130596" y="250373"/>
                    </a:cubicBezTo>
                    <a:lnTo>
                      <a:pt x="132513" y="250373"/>
                    </a:lnTo>
                    <a:lnTo>
                      <a:pt x="156795" y="245904"/>
                    </a:lnTo>
                    <a:cubicBezTo>
                      <a:pt x="161268" y="245266"/>
                      <a:pt x="165102" y="241435"/>
                      <a:pt x="165741" y="236967"/>
                    </a:cubicBezTo>
                    <a:lnTo>
                      <a:pt x="168297" y="219730"/>
                    </a:lnTo>
                    <a:lnTo>
                      <a:pt x="182994" y="211431"/>
                    </a:lnTo>
                    <a:lnTo>
                      <a:pt x="198969" y="217815"/>
                    </a:lnTo>
                    <a:cubicBezTo>
                      <a:pt x="203442" y="219730"/>
                      <a:pt x="207915" y="218453"/>
                      <a:pt x="211110" y="214623"/>
                    </a:cubicBezTo>
                    <a:lnTo>
                      <a:pt x="227085" y="195471"/>
                    </a:lnTo>
                    <a:cubicBezTo>
                      <a:pt x="230280" y="191640"/>
                      <a:pt x="230280" y="186533"/>
                      <a:pt x="227724" y="182703"/>
                    </a:cubicBezTo>
                    <a:lnTo>
                      <a:pt x="218778" y="168020"/>
                    </a:lnTo>
                    <a:lnTo>
                      <a:pt x="224529" y="152060"/>
                    </a:lnTo>
                    <a:lnTo>
                      <a:pt x="240503" y="146314"/>
                    </a:lnTo>
                    <a:cubicBezTo>
                      <a:pt x="244976" y="145037"/>
                      <a:pt x="247532" y="140569"/>
                      <a:pt x="247532" y="136100"/>
                    </a:cubicBezTo>
                    <a:lnTo>
                      <a:pt x="247532" y="111202"/>
                    </a:lnTo>
                    <a:cubicBezTo>
                      <a:pt x="247532" y="108649"/>
                      <a:pt x="244337" y="104180"/>
                      <a:pt x="240503" y="102903"/>
                    </a:cubicBezTo>
                    <a:close/>
                    <a:moveTo>
                      <a:pt x="234752" y="136100"/>
                    </a:moveTo>
                    <a:lnTo>
                      <a:pt x="216861" y="141845"/>
                    </a:lnTo>
                    <a:cubicBezTo>
                      <a:pt x="214944" y="142484"/>
                      <a:pt x="213666" y="143761"/>
                      <a:pt x="213027" y="145676"/>
                    </a:cubicBezTo>
                    <a:lnTo>
                      <a:pt x="205359" y="167381"/>
                    </a:lnTo>
                    <a:cubicBezTo>
                      <a:pt x="204720" y="169296"/>
                      <a:pt x="204720" y="171212"/>
                      <a:pt x="205998" y="173127"/>
                    </a:cubicBezTo>
                    <a:lnTo>
                      <a:pt x="215583" y="189087"/>
                    </a:lnTo>
                    <a:lnTo>
                      <a:pt x="201525" y="205685"/>
                    </a:lnTo>
                    <a:lnTo>
                      <a:pt x="184272" y="198663"/>
                    </a:lnTo>
                    <a:cubicBezTo>
                      <a:pt x="182355" y="198024"/>
                      <a:pt x="180438" y="198024"/>
                      <a:pt x="178521" y="199301"/>
                    </a:cubicBezTo>
                    <a:lnTo>
                      <a:pt x="158712" y="210792"/>
                    </a:lnTo>
                    <a:cubicBezTo>
                      <a:pt x="156795" y="212069"/>
                      <a:pt x="156156" y="213346"/>
                      <a:pt x="155517" y="215261"/>
                    </a:cubicBezTo>
                    <a:lnTo>
                      <a:pt x="152322" y="233775"/>
                    </a:lnTo>
                    <a:lnTo>
                      <a:pt x="130596" y="237605"/>
                    </a:lnTo>
                    <a:lnTo>
                      <a:pt x="121651" y="221007"/>
                    </a:lnTo>
                    <a:cubicBezTo>
                      <a:pt x="121012" y="219091"/>
                      <a:pt x="119095" y="218453"/>
                      <a:pt x="117178" y="217815"/>
                    </a:cubicBezTo>
                    <a:lnTo>
                      <a:pt x="94174" y="213984"/>
                    </a:lnTo>
                    <a:lnTo>
                      <a:pt x="92896" y="213984"/>
                    </a:lnTo>
                    <a:cubicBezTo>
                      <a:pt x="91618" y="213984"/>
                      <a:pt x="89701" y="214623"/>
                      <a:pt x="88423" y="215261"/>
                    </a:cubicBezTo>
                    <a:lnTo>
                      <a:pt x="74365" y="227391"/>
                    </a:lnTo>
                    <a:lnTo>
                      <a:pt x="55195" y="216538"/>
                    </a:lnTo>
                    <a:lnTo>
                      <a:pt x="59029" y="198024"/>
                    </a:lnTo>
                    <a:cubicBezTo>
                      <a:pt x="59668" y="196109"/>
                      <a:pt x="59029" y="194194"/>
                      <a:pt x="57751" y="192917"/>
                    </a:cubicBezTo>
                    <a:lnTo>
                      <a:pt x="43054" y="175042"/>
                    </a:lnTo>
                    <a:cubicBezTo>
                      <a:pt x="41776" y="173765"/>
                      <a:pt x="39859" y="172488"/>
                      <a:pt x="37942" y="172488"/>
                    </a:cubicBezTo>
                    <a:lnTo>
                      <a:pt x="19412" y="173127"/>
                    </a:lnTo>
                    <a:lnTo>
                      <a:pt x="12383" y="153337"/>
                    </a:lnTo>
                    <a:lnTo>
                      <a:pt x="27079" y="141845"/>
                    </a:lnTo>
                    <a:cubicBezTo>
                      <a:pt x="28357" y="140569"/>
                      <a:pt x="29635" y="138653"/>
                      <a:pt x="29635" y="136738"/>
                    </a:cubicBezTo>
                    <a:lnTo>
                      <a:pt x="29635" y="113756"/>
                    </a:lnTo>
                    <a:cubicBezTo>
                      <a:pt x="29635" y="111841"/>
                      <a:pt x="28997" y="109926"/>
                      <a:pt x="27079" y="108649"/>
                    </a:cubicBezTo>
                    <a:lnTo>
                      <a:pt x="12383" y="97158"/>
                    </a:lnTo>
                    <a:lnTo>
                      <a:pt x="20051" y="76729"/>
                    </a:lnTo>
                    <a:lnTo>
                      <a:pt x="38581" y="77367"/>
                    </a:lnTo>
                    <a:cubicBezTo>
                      <a:pt x="40498" y="77367"/>
                      <a:pt x="42415" y="76729"/>
                      <a:pt x="43693" y="74814"/>
                    </a:cubicBezTo>
                    <a:lnTo>
                      <a:pt x="58390" y="56939"/>
                    </a:lnTo>
                    <a:cubicBezTo>
                      <a:pt x="59668" y="55662"/>
                      <a:pt x="60307" y="53747"/>
                      <a:pt x="59668" y="51831"/>
                    </a:cubicBezTo>
                    <a:lnTo>
                      <a:pt x="55834" y="33318"/>
                    </a:lnTo>
                    <a:lnTo>
                      <a:pt x="75004" y="22465"/>
                    </a:lnTo>
                    <a:lnTo>
                      <a:pt x="89062" y="34595"/>
                    </a:lnTo>
                    <a:cubicBezTo>
                      <a:pt x="90340" y="35871"/>
                      <a:pt x="92257" y="36510"/>
                      <a:pt x="94174" y="35871"/>
                    </a:cubicBezTo>
                    <a:lnTo>
                      <a:pt x="117178" y="32041"/>
                    </a:lnTo>
                    <a:cubicBezTo>
                      <a:pt x="119095" y="31403"/>
                      <a:pt x="121012" y="30764"/>
                      <a:pt x="121651" y="28849"/>
                    </a:cubicBezTo>
                    <a:lnTo>
                      <a:pt x="130596" y="12251"/>
                    </a:lnTo>
                    <a:lnTo>
                      <a:pt x="152322" y="16081"/>
                    </a:lnTo>
                    <a:lnTo>
                      <a:pt x="155517" y="34595"/>
                    </a:lnTo>
                    <a:cubicBezTo>
                      <a:pt x="155517" y="36510"/>
                      <a:pt x="156795" y="38425"/>
                      <a:pt x="158712" y="39063"/>
                    </a:cubicBezTo>
                    <a:lnTo>
                      <a:pt x="178521" y="50555"/>
                    </a:lnTo>
                    <a:cubicBezTo>
                      <a:pt x="180438" y="51831"/>
                      <a:pt x="182355" y="51831"/>
                      <a:pt x="184272" y="51193"/>
                    </a:cubicBezTo>
                    <a:lnTo>
                      <a:pt x="201525" y="44171"/>
                    </a:lnTo>
                    <a:lnTo>
                      <a:pt x="215583" y="60769"/>
                    </a:lnTo>
                    <a:lnTo>
                      <a:pt x="205998" y="76729"/>
                    </a:lnTo>
                    <a:cubicBezTo>
                      <a:pt x="204720" y="78644"/>
                      <a:pt x="204720" y="80559"/>
                      <a:pt x="205359" y="82474"/>
                    </a:cubicBezTo>
                    <a:lnTo>
                      <a:pt x="213027" y="104180"/>
                    </a:lnTo>
                    <a:cubicBezTo>
                      <a:pt x="213666" y="106095"/>
                      <a:pt x="214944" y="107372"/>
                      <a:pt x="216861" y="108010"/>
                    </a:cubicBezTo>
                    <a:lnTo>
                      <a:pt x="234752" y="114394"/>
                    </a:lnTo>
                    <a:lnTo>
                      <a:pt x="234752" y="136100"/>
                    </a:lnTo>
                    <a:close/>
                  </a:path>
                </a:pathLst>
              </a:custGeom>
              <a:grpFill/>
              <a:ln w="6390" cap="flat">
                <a:noFill/>
                <a:prstDash val="solid"/>
                <a:miter/>
              </a:ln>
            </p:spPr>
            <p:txBody>
              <a:bodyPr rtlCol="0" anchor="ctr"/>
              <a:lstStyle/>
              <a:p>
                <a:endParaRPr lang="en-US"/>
              </a:p>
            </p:txBody>
          </p:sp>
        </p:grpSp>
      </p:grpSp>
      <p:grpSp>
        <p:nvGrpSpPr>
          <p:cNvPr id="81" name="Group 80">
            <a:extLst>
              <a:ext uri="{FF2B5EF4-FFF2-40B4-BE49-F238E27FC236}">
                <a16:creationId xmlns:a16="http://schemas.microsoft.com/office/drawing/2014/main" id="{0796C827-91E7-65F0-8C1F-16938D478727}"/>
              </a:ext>
            </a:extLst>
          </p:cNvPr>
          <p:cNvGrpSpPr/>
          <p:nvPr/>
        </p:nvGrpSpPr>
        <p:grpSpPr>
          <a:xfrm>
            <a:off x="5180762" y="3273745"/>
            <a:ext cx="6541337" cy="875240"/>
            <a:chOff x="5180762" y="3273745"/>
            <a:chExt cx="6541337" cy="875240"/>
          </a:xfrm>
        </p:grpSpPr>
        <p:grpSp>
          <p:nvGrpSpPr>
            <p:cNvPr id="74" name="Group 73">
              <a:extLst>
                <a:ext uri="{FF2B5EF4-FFF2-40B4-BE49-F238E27FC236}">
                  <a16:creationId xmlns:a16="http://schemas.microsoft.com/office/drawing/2014/main" id="{27E3CF62-EDB5-A9D1-A7F6-DBC36C111186}"/>
                </a:ext>
              </a:extLst>
            </p:cNvPr>
            <p:cNvGrpSpPr/>
            <p:nvPr/>
          </p:nvGrpSpPr>
          <p:grpSpPr>
            <a:xfrm>
              <a:off x="5180762" y="3362979"/>
              <a:ext cx="1129357" cy="696773"/>
              <a:chOff x="5180762" y="3372811"/>
              <a:chExt cx="1129357" cy="696773"/>
            </a:xfrm>
          </p:grpSpPr>
          <p:sp>
            <p:nvSpPr>
              <p:cNvPr id="49" name="TextBox 48">
                <a:extLst>
                  <a:ext uri="{FF2B5EF4-FFF2-40B4-BE49-F238E27FC236}">
                    <a16:creationId xmlns:a16="http://schemas.microsoft.com/office/drawing/2014/main" id="{827752B1-D812-6E7F-38C0-7550DB090E7E}"/>
                  </a:ext>
                </a:extLst>
              </p:cNvPr>
              <p:cNvSpPr txBox="1">
                <a:spLocks/>
              </p:cNvSpPr>
              <p:nvPr/>
            </p:nvSpPr>
            <p:spPr>
              <a:xfrm>
                <a:off x="5180762" y="3372811"/>
                <a:ext cx="1129357" cy="677108"/>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488"/>
                  </a:spcBef>
                  <a:spcAft>
                    <a:spcPts val="0"/>
                  </a:spcAft>
                  <a:buClrTx/>
                  <a:buSzPct val="100000"/>
                  <a:buFontTx/>
                  <a:buNone/>
                  <a:tabLst/>
                  <a:defRPr/>
                </a:pPr>
                <a:r>
                  <a:rPr kumimoji="0" lang="en-US" sz="4400" b="1" i="0" u="none" strike="noStrike" kern="0" cap="none" spc="0" normalizeH="0" baseline="0" noProof="0">
                    <a:ln>
                      <a:noFill/>
                    </a:ln>
                    <a:solidFill>
                      <a:schemeClr val="accent5"/>
                    </a:solidFill>
                    <a:effectLst/>
                    <a:uLnTx/>
                    <a:uFillTx/>
                  </a:rPr>
                  <a:t>03</a:t>
                </a:r>
                <a:endParaRPr kumimoji="0" lang="en-US" sz="4400" b="1" i="0" u="none" strike="noStrike" kern="0" cap="none" spc="0" normalizeH="0" baseline="0" noProof="0" dirty="0">
                  <a:ln>
                    <a:noFill/>
                  </a:ln>
                  <a:solidFill>
                    <a:schemeClr val="accent5"/>
                  </a:solidFill>
                  <a:effectLst/>
                  <a:uLnTx/>
                  <a:uFillTx/>
                </a:endParaRPr>
              </a:p>
            </p:txBody>
          </p:sp>
          <p:sp>
            <p:nvSpPr>
              <p:cNvPr id="57" name="Chord 56">
                <a:extLst>
                  <a:ext uri="{FF2B5EF4-FFF2-40B4-BE49-F238E27FC236}">
                    <a16:creationId xmlns:a16="http://schemas.microsoft.com/office/drawing/2014/main" id="{5131ADC2-C7BE-C2C2-BCEE-3FD36DD97B58}"/>
                  </a:ext>
                </a:extLst>
              </p:cNvPr>
              <p:cNvSpPr/>
              <p:nvPr/>
            </p:nvSpPr>
            <p:spPr bwMode="gray">
              <a:xfrm>
                <a:off x="5821766" y="3633202"/>
                <a:ext cx="454318" cy="436382"/>
              </a:xfrm>
              <a:prstGeom prst="chord">
                <a:avLst>
                  <a:gd name="adj1" fmla="val 2700000"/>
                  <a:gd name="adj2" fmla="val 18834732"/>
                </a:avLst>
              </a:prstGeom>
              <a:solidFill>
                <a:srgbClr val="0097A9">
                  <a:alpha val="3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grpSp>
        <p:sp>
          <p:nvSpPr>
            <p:cNvPr id="60" name="TextBox 59">
              <a:extLst>
                <a:ext uri="{FF2B5EF4-FFF2-40B4-BE49-F238E27FC236}">
                  <a16:creationId xmlns:a16="http://schemas.microsoft.com/office/drawing/2014/main" id="{41551D5B-4B43-3B3F-84F6-DDAE48D11095}"/>
                </a:ext>
              </a:extLst>
            </p:cNvPr>
            <p:cNvSpPr txBox="1">
              <a:spLocks/>
            </p:cNvSpPr>
            <p:nvPr/>
          </p:nvSpPr>
          <p:spPr>
            <a:xfrm>
              <a:off x="6410424" y="3273745"/>
              <a:ext cx="5311675" cy="875240"/>
            </a:xfrm>
            <a:prstGeom prst="rect">
              <a:avLst/>
            </a:prstGeom>
            <a:solidFill>
              <a:schemeClr val="bg1"/>
            </a:solidFill>
            <a:effectLst/>
          </p:spPr>
          <p:txBody>
            <a:bodyPr wrap="square" lIns="9144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rPr>
                <a:t>Cloud adoption inhibitors</a:t>
              </a:r>
              <a:br>
                <a:rPr kumimoji="0" lang="en-US" sz="2000" b="1" i="0" u="none" strike="noStrike" kern="0" cap="none" spc="0" normalizeH="0" baseline="0" noProof="0" dirty="0">
                  <a:ln>
                    <a:noFill/>
                  </a:ln>
                  <a:effectLst/>
                  <a:uLnTx/>
                  <a:uFillTx/>
                </a:rPr>
              </a:br>
              <a:r>
                <a:rPr kumimoji="0" lang="en-US" sz="2000" b="1" i="0" u="none" strike="noStrike" kern="0" cap="none" spc="0" normalizeH="0" baseline="0" noProof="0" dirty="0">
                  <a:ln>
                    <a:noFill/>
                  </a:ln>
                  <a:effectLst/>
                  <a:uLnTx/>
                  <a:uFillTx/>
                </a:rPr>
                <a:t>and mitigations</a:t>
              </a:r>
              <a:endParaRPr kumimoji="0" lang="en-GB" sz="2000" b="0" i="0" u="none" strike="noStrike" kern="0" cap="none" spc="0" normalizeH="0" baseline="0" noProof="0" dirty="0">
                <a:ln>
                  <a:noFill/>
                </a:ln>
                <a:effectLst/>
                <a:uLnTx/>
                <a:uFillTx/>
              </a:endParaRPr>
            </a:p>
          </p:txBody>
        </p:sp>
        <p:grpSp>
          <p:nvGrpSpPr>
            <p:cNvPr id="17" name="Graphic 4">
              <a:extLst>
                <a:ext uri="{FF2B5EF4-FFF2-40B4-BE49-F238E27FC236}">
                  <a16:creationId xmlns:a16="http://schemas.microsoft.com/office/drawing/2014/main" id="{34A979BB-E62A-4BA9-0682-103A2FB3397B}"/>
                </a:ext>
              </a:extLst>
            </p:cNvPr>
            <p:cNvGrpSpPr/>
            <p:nvPr/>
          </p:nvGrpSpPr>
          <p:grpSpPr>
            <a:xfrm>
              <a:off x="10792639" y="3409246"/>
              <a:ext cx="604239" cy="604239"/>
              <a:chOff x="4661459" y="918179"/>
              <a:chExt cx="361674" cy="361333"/>
            </a:xfrm>
            <a:solidFill>
              <a:srgbClr val="0097A9"/>
            </a:solidFill>
          </p:grpSpPr>
          <p:sp>
            <p:nvSpPr>
              <p:cNvPr id="18" name="Graphic 4">
                <a:extLst>
                  <a:ext uri="{FF2B5EF4-FFF2-40B4-BE49-F238E27FC236}">
                    <a16:creationId xmlns:a16="http://schemas.microsoft.com/office/drawing/2014/main" id="{EE5532BE-6A39-F4A4-7F0F-E09C7AC63547}"/>
                  </a:ext>
                </a:extLst>
              </p:cNvPr>
              <p:cNvSpPr/>
              <p:nvPr/>
            </p:nvSpPr>
            <p:spPr>
              <a:xfrm>
                <a:off x="4661459" y="918179"/>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180835 w 361674"/>
                  <a:gd name="connsiteY5" fmla="*/ 349204 h 361333"/>
                  <a:gd name="connsiteX6" fmla="*/ 12780 w 361674"/>
                  <a:gd name="connsiteY6" fmla="*/ 181305 h 361333"/>
                  <a:gd name="connsiteX7" fmla="*/ 180835 w 361674"/>
                  <a:gd name="connsiteY7" fmla="*/ 13406 h 361333"/>
                  <a:gd name="connsiteX8" fmla="*/ 348890 w 361674"/>
                  <a:gd name="connsiteY8" fmla="*/ 181305 h 361333"/>
                  <a:gd name="connsiteX9" fmla="*/ 180835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2310" y="81077"/>
                      <a:pt x="281157" y="0"/>
                      <a:pt x="180835" y="0"/>
                    </a:cubicBezTo>
                    <a:close/>
                    <a:moveTo>
                      <a:pt x="180835" y="349204"/>
                    </a:moveTo>
                    <a:cubicBezTo>
                      <a:pt x="88181" y="349204"/>
                      <a:pt x="12780" y="273873"/>
                      <a:pt x="12780" y="181305"/>
                    </a:cubicBezTo>
                    <a:cubicBezTo>
                      <a:pt x="12780" y="88737"/>
                      <a:pt x="88181" y="13406"/>
                      <a:pt x="180835" y="13406"/>
                    </a:cubicBezTo>
                    <a:cubicBezTo>
                      <a:pt x="273489" y="13406"/>
                      <a:pt x="348890" y="88737"/>
                      <a:pt x="348890" y="181305"/>
                    </a:cubicBezTo>
                    <a:cubicBezTo>
                      <a:pt x="348890" y="273873"/>
                      <a:pt x="273489" y="349204"/>
                      <a:pt x="180835" y="349204"/>
                    </a:cubicBezTo>
                    <a:close/>
                  </a:path>
                </a:pathLst>
              </a:custGeom>
              <a:grpFill/>
              <a:ln w="6390"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6597521-DBAE-6F32-6AA6-BDC5531DB8BE}"/>
                  </a:ext>
                </a:extLst>
              </p:cNvPr>
              <p:cNvSpPr/>
              <p:nvPr/>
            </p:nvSpPr>
            <p:spPr>
              <a:xfrm>
                <a:off x="4746445" y="988403"/>
                <a:ext cx="58787" cy="220885"/>
              </a:xfrm>
              <a:custGeom>
                <a:avLst/>
                <a:gdLst>
                  <a:gd name="connsiteX0" fmla="*/ 35784 w 58787"/>
                  <a:gd name="connsiteY0" fmla="*/ 29366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29366 h 220885"/>
                  <a:gd name="connsiteX5" fmla="*/ 0 w 58787"/>
                  <a:gd name="connsiteY5" fmla="*/ 58094 h 220885"/>
                  <a:gd name="connsiteX6" fmla="*/ 23004 w 58787"/>
                  <a:gd name="connsiteY6" fmla="*/ 86822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86822 h 220885"/>
                  <a:gd name="connsiteX11" fmla="*/ 58788 w 58787"/>
                  <a:gd name="connsiteY11" fmla="*/ 58094 h 220885"/>
                  <a:gd name="connsiteX12" fmla="*/ 35784 w 58787"/>
                  <a:gd name="connsiteY12" fmla="*/ 29366 h 220885"/>
                  <a:gd name="connsiteX13" fmla="*/ 29394 w 58787"/>
                  <a:gd name="connsiteY13" fmla="*/ 74693 h 220885"/>
                  <a:gd name="connsiteX14" fmla="*/ 12780 w 58787"/>
                  <a:gd name="connsiteY14" fmla="*/ 58094 h 220885"/>
                  <a:gd name="connsiteX15" fmla="*/ 29394 w 58787"/>
                  <a:gd name="connsiteY15" fmla="*/ 41496 h 220885"/>
                  <a:gd name="connsiteX16" fmla="*/ 46008 w 58787"/>
                  <a:gd name="connsiteY16" fmla="*/ 58094 h 220885"/>
                  <a:gd name="connsiteX17" fmla="*/ 29394 w 58787"/>
                  <a:gd name="connsiteY17" fmla="*/ 74693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29366"/>
                    </a:moveTo>
                    <a:lnTo>
                      <a:pt x="35784" y="6384"/>
                    </a:lnTo>
                    <a:cubicBezTo>
                      <a:pt x="35784" y="2554"/>
                      <a:pt x="33228" y="0"/>
                      <a:pt x="29394" y="0"/>
                    </a:cubicBezTo>
                    <a:cubicBezTo>
                      <a:pt x="25560" y="0"/>
                      <a:pt x="23004" y="2554"/>
                      <a:pt x="23004" y="6384"/>
                    </a:cubicBezTo>
                    <a:lnTo>
                      <a:pt x="23004" y="29366"/>
                    </a:lnTo>
                    <a:cubicBezTo>
                      <a:pt x="9585" y="32558"/>
                      <a:pt x="0" y="44050"/>
                      <a:pt x="0" y="58094"/>
                    </a:cubicBezTo>
                    <a:cubicBezTo>
                      <a:pt x="0" y="72139"/>
                      <a:pt x="10224" y="84269"/>
                      <a:pt x="23004" y="86822"/>
                    </a:cubicBezTo>
                    <a:lnTo>
                      <a:pt x="23004" y="214502"/>
                    </a:lnTo>
                    <a:cubicBezTo>
                      <a:pt x="23004" y="218332"/>
                      <a:pt x="25560" y="220886"/>
                      <a:pt x="29394" y="220886"/>
                    </a:cubicBezTo>
                    <a:cubicBezTo>
                      <a:pt x="33228" y="220886"/>
                      <a:pt x="35784" y="218332"/>
                      <a:pt x="35784" y="214502"/>
                    </a:cubicBezTo>
                    <a:lnTo>
                      <a:pt x="35784" y="86822"/>
                    </a:lnTo>
                    <a:cubicBezTo>
                      <a:pt x="49203" y="83630"/>
                      <a:pt x="58788" y="72139"/>
                      <a:pt x="58788" y="58094"/>
                    </a:cubicBezTo>
                    <a:cubicBezTo>
                      <a:pt x="58788" y="44050"/>
                      <a:pt x="49203" y="32558"/>
                      <a:pt x="35784" y="29366"/>
                    </a:cubicBezTo>
                    <a:close/>
                    <a:moveTo>
                      <a:pt x="29394" y="74693"/>
                    </a:moveTo>
                    <a:cubicBezTo>
                      <a:pt x="20448" y="74693"/>
                      <a:pt x="12780" y="67032"/>
                      <a:pt x="12780" y="58094"/>
                    </a:cubicBezTo>
                    <a:cubicBezTo>
                      <a:pt x="12780" y="49157"/>
                      <a:pt x="20448" y="41496"/>
                      <a:pt x="29394" y="41496"/>
                    </a:cubicBezTo>
                    <a:cubicBezTo>
                      <a:pt x="38340" y="41496"/>
                      <a:pt x="46008" y="49157"/>
                      <a:pt x="46008" y="58094"/>
                    </a:cubicBezTo>
                    <a:cubicBezTo>
                      <a:pt x="46008" y="67032"/>
                      <a:pt x="38340" y="74693"/>
                      <a:pt x="29394" y="74693"/>
                    </a:cubicBezTo>
                    <a:close/>
                  </a:path>
                </a:pathLst>
              </a:custGeom>
              <a:grpFill/>
              <a:ln w="6390"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CE548F5A-E527-2F08-F324-5B5ECD65521B}"/>
                  </a:ext>
                </a:extLst>
              </p:cNvPr>
              <p:cNvSpPr/>
              <p:nvPr/>
            </p:nvSpPr>
            <p:spPr>
              <a:xfrm>
                <a:off x="4879355" y="988403"/>
                <a:ext cx="58787" cy="220885"/>
              </a:xfrm>
              <a:custGeom>
                <a:avLst/>
                <a:gdLst>
                  <a:gd name="connsiteX0" fmla="*/ 35784 w 58787"/>
                  <a:gd name="connsiteY0" fmla="*/ 66393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66393 h 220885"/>
                  <a:gd name="connsiteX5" fmla="*/ 0 w 58787"/>
                  <a:gd name="connsiteY5" fmla="*/ 95121 h 220885"/>
                  <a:gd name="connsiteX6" fmla="*/ 23004 w 58787"/>
                  <a:gd name="connsiteY6" fmla="*/ 123849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123849 h 220885"/>
                  <a:gd name="connsiteX11" fmla="*/ 58788 w 58787"/>
                  <a:gd name="connsiteY11" fmla="*/ 95121 h 220885"/>
                  <a:gd name="connsiteX12" fmla="*/ 35784 w 58787"/>
                  <a:gd name="connsiteY12" fmla="*/ 66393 h 220885"/>
                  <a:gd name="connsiteX13" fmla="*/ 29394 w 58787"/>
                  <a:gd name="connsiteY13" fmla="*/ 111720 h 220885"/>
                  <a:gd name="connsiteX14" fmla="*/ 12780 w 58787"/>
                  <a:gd name="connsiteY14" fmla="*/ 95121 h 220885"/>
                  <a:gd name="connsiteX15" fmla="*/ 29394 w 58787"/>
                  <a:gd name="connsiteY15" fmla="*/ 78523 h 220885"/>
                  <a:gd name="connsiteX16" fmla="*/ 46008 w 58787"/>
                  <a:gd name="connsiteY16" fmla="*/ 95121 h 220885"/>
                  <a:gd name="connsiteX17" fmla="*/ 29394 w 58787"/>
                  <a:gd name="connsiteY17" fmla="*/ 111720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66393"/>
                    </a:moveTo>
                    <a:lnTo>
                      <a:pt x="35784" y="6384"/>
                    </a:lnTo>
                    <a:cubicBezTo>
                      <a:pt x="35784" y="2554"/>
                      <a:pt x="33228" y="0"/>
                      <a:pt x="29394" y="0"/>
                    </a:cubicBezTo>
                    <a:cubicBezTo>
                      <a:pt x="25560" y="0"/>
                      <a:pt x="23004" y="2554"/>
                      <a:pt x="23004" y="6384"/>
                    </a:cubicBezTo>
                    <a:lnTo>
                      <a:pt x="23004" y="66393"/>
                    </a:lnTo>
                    <a:cubicBezTo>
                      <a:pt x="9585" y="69585"/>
                      <a:pt x="0" y="81077"/>
                      <a:pt x="0" y="95121"/>
                    </a:cubicBezTo>
                    <a:cubicBezTo>
                      <a:pt x="0" y="109166"/>
                      <a:pt x="10224" y="121296"/>
                      <a:pt x="23004" y="123849"/>
                    </a:cubicBezTo>
                    <a:lnTo>
                      <a:pt x="23004" y="214502"/>
                    </a:lnTo>
                    <a:cubicBezTo>
                      <a:pt x="23004" y="218332"/>
                      <a:pt x="25560" y="220886"/>
                      <a:pt x="29394" y="220886"/>
                    </a:cubicBezTo>
                    <a:cubicBezTo>
                      <a:pt x="33228" y="220886"/>
                      <a:pt x="35784" y="218332"/>
                      <a:pt x="35784" y="214502"/>
                    </a:cubicBezTo>
                    <a:lnTo>
                      <a:pt x="35784" y="123849"/>
                    </a:lnTo>
                    <a:cubicBezTo>
                      <a:pt x="49203" y="120657"/>
                      <a:pt x="58788" y="109166"/>
                      <a:pt x="58788" y="95121"/>
                    </a:cubicBezTo>
                    <a:cubicBezTo>
                      <a:pt x="58788" y="81077"/>
                      <a:pt x="49203" y="69585"/>
                      <a:pt x="35784" y="66393"/>
                    </a:cubicBezTo>
                    <a:close/>
                    <a:moveTo>
                      <a:pt x="29394" y="111720"/>
                    </a:moveTo>
                    <a:cubicBezTo>
                      <a:pt x="20448" y="111720"/>
                      <a:pt x="12780" y="104059"/>
                      <a:pt x="12780" y="95121"/>
                    </a:cubicBezTo>
                    <a:cubicBezTo>
                      <a:pt x="12780" y="86184"/>
                      <a:pt x="20448" y="78523"/>
                      <a:pt x="29394" y="78523"/>
                    </a:cubicBezTo>
                    <a:cubicBezTo>
                      <a:pt x="38340" y="78523"/>
                      <a:pt x="46008" y="86184"/>
                      <a:pt x="46008" y="95121"/>
                    </a:cubicBezTo>
                    <a:cubicBezTo>
                      <a:pt x="46647" y="104697"/>
                      <a:pt x="38979" y="111720"/>
                      <a:pt x="29394" y="111720"/>
                    </a:cubicBezTo>
                    <a:close/>
                  </a:path>
                </a:pathLst>
              </a:custGeom>
              <a:grpFill/>
              <a:ln w="6390"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ABB7B5C7-A29A-2796-8709-9B7EFB26BD59}"/>
                  </a:ext>
                </a:extLst>
              </p:cNvPr>
              <p:cNvSpPr/>
              <p:nvPr/>
            </p:nvSpPr>
            <p:spPr>
              <a:xfrm>
                <a:off x="4812900" y="988403"/>
                <a:ext cx="58787" cy="220885"/>
              </a:xfrm>
              <a:custGeom>
                <a:avLst/>
                <a:gdLst>
                  <a:gd name="connsiteX0" fmla="*/ 35783 w 58787"/>
                  <a:gd name="connsiteY0" fmla="*/ 132787 h 220885"/>
                  <a:gd name="connsiteX1" fmla="*/ 35783 w 58787"/>
                  <a:gd name="connsiteY1" fmla="*/ 6384 h 220885"/>
                  <a:gd name="connsiteX2" fmla="*/ 29394 w 58787"/>
                  <a:gd name="connsiteY2" fmla="*/ 0 h 220885"/>
                  <a:gd name="connsiteX3" fmla="*/ 23004 w 58787"/>
                  <a:gd name="connsiteY3" fmla="*/ 6384 h 220885"/>
                  <a:gd name="connsiteX4" fmla="*/ 23004 w 58787"/>
                  <a:gd name="connsiteY4" fmla="*/ 132787 h 220885"/>
                  <a:gd name="connsiteX5" fmla="*/ 0 w 58787"/>
                  <a:gd name="connsiteY5" fmla="*/ 161515 h 220885"/>
                  <a:gd name="connsiteX6" fmla="*/ 23004 w 58787"/>
                  <a:gd name="connsiteY6" fmla="*/ 190243 h 220885"/>
                  <a:gd name="connsiteX7" fmla="*/ 23004 w 58787"/>
                  <a:gd name="connsiteY7" fmla="*/ 214502 h 220885"/>
                  <a:gd name="connsiteX8" fmla="*/ 29394 w 58787"/>
                  <a:gd name="connsiteY8" fmla="*/ 220886 h 220885"/>
                  <a:gd name="connsiteX9" fmla="*/ 35783 w 58787"/>
                  <a:gd name="connsiteY9" fmla="*/ 214502 h 220885"/>
                  <a:gd name="connsiteX10" fmla="*/ 35783 w 58787"/>
                  <a:gd name="connsiteY10" fmla="*/ 190243 h 220885"/>
                  <a:gd name="connsiteX11" fmla="*/ 58788 w 58787"/>
                  <a:gd name="connsiteY11" fmla="*/ 161515 h 220885"/>
                  <a:gd name="connsiteX12" fmla="*/ 35783 w 58787"/>
                  <a:gd name="connsiteY12" fmla="*/ 132787 h 220885"/>
                  <a:gd name="connsiteX13" fmla="*/ 29394 w 58787"/>
                  <a:gd name="connsiteY13" fmla="*/ 178752 h 220885"/>
                  <a:gd name="connsiteX14" fmla="*/ 12780 w 58787"/>
                  <a:gd name="connsiteY14" fmla="*/ 162153 h 220885"/>
                  <a:gd name="connsiteX15" fmla="*/ 29394 w 58787"/>
                  <a:gd name="connsiteY15" fmla="*/ 145555 h 220885"/>
                  <a:gd name="connsiteX16" fmla="*/ 46008 w 58787"/>
                  <a:gd name="connsiteY16" fmla="*/ 162153 h 220885"/>
                  <a:gd name="connsiteX17" fmla="*/ 29394 w 58787"/>
                  <a:gd name="connsiteY17" fmla="*/ 178752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3" y="132787"/>
                    </a:moveTo>
                    <a:lnTo>
                      <a:pt x="35783" y="6384"/>
                    </a:lnTo>
                    <a:cubicBezTo>
                      <a:pt x="35783" y="2554"/>
                      <a:pt x="33228" y="0"/>
                      <a:pt x="29394" y="0"/>
                    </a:cubicBezTo>
                    <a:cubicBezTo>
                      <a:pt x="25560" y="0"/>
                      <a:pt x="23004" y="2554"/>
                      <a:pt x="23004" y="6384"/>
                    </a:cubicBezTo>
                    <a:lnTo>
                      <a:pt x="23004" y="132787"/>
                    </a:lnTo>
                    <a:cubicBezTo>
                      <a:pt x="9585" y="135979"/>
                      <a:pt x="0" y="147470"/>
                      <a:pt x="0" y="161515"/>
                    </a:cubicBezTo>
                    <a:cubicBezTo>
                      <a:pt x="0" y="175560"/>
                      <a:pt x="10224" y="187689"/>
                      <a:pt x="23004" y="190243"/>
                    </a:cubicBezTo>
                    <a:lnTo>
                      <a:pt x="23004" y="214502"/>
                    </a:lnTo>
                    <a:cubicBezTo>
                      <a:pt x="23004" y="218332"/>
                      <a:pt x="25560" y="220886"/>
                      <a:pt x="29394" y="220886"/>
                    </a:cubicBezTo>
                    <a:cubicBezTo>
                      <a:pt x="33228" y="220886"/>
                      <a:pt x="35783" y="218332"/>
                      <a:pt x="35783" y="214502"/>
                    </a:cubicBezTo>
                    <a:lnTo>
                      <a:pt x="35783" y="190243"/>
                    </a:lnTo>
                    <a:cubicBezTo>
                      <a:pt x="49203" y="187051"/>
                      <a:pt x="58788" y="175560"/>
                      <a:pt x="58788" y="161515"/>
                    </a:cubicBezTo>
                    <a:cubicBezTo>
                      <a:pt x="58788" y="147470"/>
                      <a:pt x="49203" y="135979"/>
                      <a:pt x="35783" y="132787"/>
                    </a:cubicBezTo>
                    <a:close/>
                    <a:moveTo>
                      <a:pt x="29394" y="178752"/>
                    </a:moveTo>
                    <a:cubicBezTo>
                      <a:pt x="20448" y="178752"/>
                      <a:pt x="12780" y="171091"/>
                      <a:pt x="12780" y="162153"/>
                    </a:cubicBezTo>
                    <a:cubicBezTo>
                      <a:pt x="12780" y="153216"/>
                      <a:pt x="20448" y="145555"/>
                      <a:pt x="29394" y="145555"/>
                    </a:cubicBezTo>
                    <a:cubicBezTo>
                      <a:pt x="38340" y="145555"/>
                      <a:pt x="46008" y="153216"/>
                      <a:pt x="46008" y="162153"/>
                    </a:cubicBezTo>
                    <a:cubicBezTo>
                      <a:pt x="46008" y="171091"/>
                      <a:pt x="38340" y="178752"/>
                      <a:pt x="29394" y="178752"/>
                    </a:cubicBezTo>
                    <a:close/>
                  </a:path>
                </a:pathLst>
              </a:custGeom>
              <a:grpFill/>
              <a:ln w="6390" cap="flat">
                <a:noFill/>
                <a:prstDash val="solid"/>
                <a:miter/>
              </a:ln>
            </p:spPr>
            <p:txBody>
              <a:bodyPr rtlCol="0" anchor="ctr"/>
              <a:lstStyle/>
              <a:p>
                <a:endParaRPr lang="en-US"/>
              </a:p>
            </p:txBody>
          </p:sp>
        </p:grpSp>
      </p:grpSp>
      <p:grpSp>
        <p:nvGrpSpPr>
          <p:cNvPr id="82" name="Group 81">
            <a:extLst>
              <a:ext uri="{FF2B5EF4-FFF2-40B4-BE49-F238E27FC236}">
                <a16:creationId xmlns:a16="http://schemas.microsoft.com/office/drawing/2014/main" id="{C4F01988-3BE9-0C33-8689-008AD89BC6AC}"/>
              </a:ext>
            </a:extLst>
          </p:cNvPr>
          <p:cNvGrpSpPr/>
          <p:nvPr/>
        </p:nvGrpSpPr>
        <p:grpSpPr>
          <a:xfrm>
            <a:off x="5180762" y="4315478"/>
            <a:ext cx="6539020" cy="875240"/>
            <a:chOff x="5180762" y="4315478"/>
            <a:chExt cx="6539020" cy="875240"/>
          </a:xfrm>
        </p:grpSpPr>
        <p:grpSp>
          <p:nvGrpSpPr>
            <p:cNvPr id="75" name="Group 74">
              <a:extLst>
                <a:ext uri="{FF2B5EF4-FFF2-40B4-BE49-F238E27FC236}">
                  <a16:creationId xmlns:a16="http://schemas.microsoft.com/office/drawing/2014/main" id="{EC4A46C7-83AE-4BE3-F4F3-908161B58DE8}"/>
                </a:ext>
              </a:extLst>
            </p:cNvPr>
            <p:cNvGrpSpPr/>
            <p:nvPr/>
          </p:nvGrpSpPr>
          <p:grpSpPr>
            <a:xfrm>
              <a:off x="5180762" y="4404712"/>
              <a:ext cx="1129357" cy="696773"/>
              <a:chOff x="5180762" y="4414544"/>
              <a:chExt cx="1129357" cy="696773"/>
            </a:xfrm>
          </p:grpSpPr>
          <p:sp>
            <p:nvSpPr>
              <p:cNvPr id="62" name="TextBox 61">
                <a:extLst>
                  <a:ext uri="{FF2B5EF4-FFF2-40B4-BE49-F238E27FC236}">
                    <a16:creationId xmlns:a16="http://schemas.microsoft.com/office/drawing/2014/main" id="{A45B8CEF-EE9C-DE4A-9678-E41762D1697C}"/>
                  </a:ext>
                </a:extLst>
              </p:cNvPr>
              <p:cNvSpPr txBox="1">
                <a:spLocks/>
              </p:cNvSpPr>
              <p:nvPr/>
            </p:nvSpPr>
            <p:spPr>
              <a:xfrm>
                <a:off x="5180762" y="4414544"/>
                <a:ext cx="1129357" cy="677108"/>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488"/>
                  </a:spcBef>
                  <a:spcAft>
                    <a:spcPts val="0"/>
                  </a:spcAft>
                  <a:buClrTx/>
                  <a:buSzPct val="100000"/>
                  <a:buFontTx/>
                  <a:buNone/>
                  <a:tabLst/>
                  <a:defRPr/>
                </a:pPr>
                <a:r>
                  <a:rPr kumimoji="0" lang="en-US" sz="4400" b="1" i="0" u="none" strike="noStrike" kern="0" cap="none" spc="0" normalizeH="0" baseline="0" noProof="0">
                    <a:ln>
                      <a:noFill/>
                    </a:ln>
                    <a:solidFill>
                      <a:schemeClr val="accent5"/>
                    </a:solidFill>
                    <a:effectLst/>
                    <a:uLnTx/>
                    <a:uFillTx/>
                  </a:rPr>
                  <a:t>04</a:t>
                </a:r>
                <a:endParaRPr kumimoji="0" lang="en-US" sz="4400" b="1" i="0" u="none" strike="noStrike" kern="0" cap="none" spc="0" normalizeH="0" baseline="0" noProof="0" dirty="0">
                  <a:ln>
                    <a:noFill/>
                  </a:ln>
                  <a:solidFill>
                    <a:schemeClr val="accent5"/>
                  </a:solidFill>
                  <a:effectLst/>
                  <a:uLnTx/>
                  <a:uFillTx/>
                </a:endParaRPr>
              </a:p>
            </p:txBody>
          </p:sp>
          <p:sp>
            <p:nvSpPr>
              <p:cNvPr id="63" name="Chord 62">
                <a:extLst>
                  <a:ext uri="{FF2B5EF4-FFF2-40B4-BE49-F238E27FC236}">
                    <a16:creationId xmlns:a16="http://schemas.microsoft.com/office/drawing/2014/main" id="{EA7C2FB2-B5B3-346E-35D0-1DFD5581BF6A}"/>
                  </a:ext>
                </a:extLst>
              </p:cNvPr>
              <p:cNvSpPr/>
              <p:nvPr/>
            </p:nvSpPr>
            <p:spPr bwMode="gray">
              <a:xfrm>
                <a:off x="5821766" y="4674935"/>
                <a:ext cx="454318" cy="436382"/>
              </a:xfrm>
              <a:prstGeom prst="chord">
                <a:avLst>
                  <a:gd name="adj1" fmla="val 2700000"/>
                  <a:gd name="adj2" fmla="val 18834732"/>
                </a:avLst>
              </a:prstGeom>
              <a:solidFill>
                <a:srgbClr val="0097A9">
                  <a:alpha val="3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grpSp>
        <p:sp>
          <p:nvSpPr>
            <p:cNvPr id="53" name="TextBox 52">
              <a:extLst>
                <a:ext uri="{FF2B5EF4-FFF2-40B4-BE49-F238E27FC236}">
                  <a16:creationId xmlns:a16="http://schemas.microsoft.com/office/drawing/2014/main" id="{388819E5-FC74-3C08-8613-4335985D4124}"/>
                </a:ext>
              </a:extLst>
            </p:cNvPr>
            <p:cNvSpPr txBox="1">
              <a:spLocks/>
            </p:cNvSpPr>
            <p:nvPr/>
          </p:nvSpPr>
          <p:spPr>
            <a:xfrm>
              <a:off x="6417161" y="4315478"/>
              <a:ext cx="5302621" cy="875240"/>
            </a:xfrm>
            <a:prstGeom prst="rect">
              <a:avLst/>
            </a:prstGeom>
            <a:solidFill>
              <a:schemeClr val="bg1"/>
            </a:solidFill>
            <a:effectLst/>
          </p:spPr>
          <p:txBody>
            <a:bodyPr wrap="square" lIns="9144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effectLst/>
                  <a:uLnTx/>
                  <a:uFillTx/>
                </a:rPr>
                <a:t>Workloads and usage</a:t>
              </a:r>
              <a:endParaRPr kumimoji="0" lang="en-US" sz="2000" b="0" i="0" u="none" strike="noStrike" kern="0" cap="none" spc="0" normalizeH="0" baseline="0" noProof="0" dirty="0">
                <a:ln>
                  <a:noFill/>
                </a:ln>
                <a:effectLst/>
                <a:uLnTx/>
                <a:uFillTx/>
              </a:endParaRPr>
            </a:p>
          </p:txBody>
        </p:sp>
        <p:grpSp>
          <p:nvGrpSpPr>
            <p:cNvPr id="22" name="Graphic 4">
              <a:extLst>
                <a:ext uri="{FF2B5EF4-FFF2-40B4-BE49-F238E27FC236}">
                  <a16:creationId xmlns:a16="http://schemas.microsoft.com/office/drawing/2014/main" id="{F22F442B-D712-137E-BEF9-A2CEFEC86A1F}"/>
                </a:ext>
              </a:extLst>
            </p:cNvPr>
            <p:cNvGrpSpPr/>
            <p:nvPr/>
          </p:nvGrpSpPr>
          <p:grpSpPr>
            <a:xfrm>
              <a:off x="10792639" y="4450979"/>
              <a:ext cx="604239" cy="604239"/>
              <a:chOff x="3607758" y="4308712"/>
              <a:chExt cx="362948" cy="361971"/>
            </a:xfrm>
            <a:solidFill>
              <a:srgbClr val="0097A9"/>
            </a:solidFill>
          </p:grpSpPr>
          <p:sp>
            <p:nvSpPr>
              <p:cNvPr id="23" name="Graphic 4">
                <a:extLst>
                  <a:ext uri="{FF2B5EF4-FFF2-40B4-BE49-F238E27FC236}">
                    <a16:creationId xmlns:a16="http://schemas.microsoft.com/office/drawing/2014/main" id="{EA7D7BAA-BF56-ABC2-2087-88F7AA3555DC}"/>
                  </a:ext>
                </a:extLst>
              </p:cNvPr>
              <p:cNvSpPr/>
              <p:nvPr/>
            </p:nvSpPr>
            <p:spPr>
              <a:xfrm>
                <a:off x="3607758" y="4308712"/>
                <a:ext cx="362948" cy="361971"/>
              </a:xfrm>
              <a:custGeom>
                <a:avLst/>
                <a:gdLst>
                  <a:gd name="connsiteX0" fmla="*/ 181474 w 362948"/>
                  <a:gd name="connsiteY0" fmla="*/ 0 h 361971"/>
                  <a:gd name="connsiteX1" fmla="*/ 0 w 362948"/>
                  <a:gd name="connsiteY1" fmla="*/ 180667 h 361971"/>
                  <a:gd name="connsiteX2" fmla="*/ 181474 w 362948"/>
                  <a:gd name="connsiteY2" fmla="*/ 361972 h 361971"/>
                  <a:gd name="connsiteX3" fmla="*/ 362949 w 362948"/>
                  <a:gd name="connsiteY3" fmla="*/ 181305 h 361971"/>
                  <a:gd name="connsiteX4" fmla="*/ 362949 w 362948"/>
                  <a:gd name="connsiteY4" fmla="*/ 181305 h 361971"/>
                  <a:gd name="connsiteX5" fmla="*/ 181474 w 362948"/>
                  <a:gd name="connsiteY5" fmla="*/ 0 h 361971"/>
                  <a:gd name="connsiteX6" fmla="*/ 181474 w 362948"/>
                  <a:gd name="connsiteY6" fmla="*/ 0 h 361971"/>
                  <a:gd name="connsiteX7" fmla="*/ 181474 w 362948"/>
                  <a:gd name="connsiteY7" fmla="*/ 349204 h 361971"/>
                  <a:gd name="connsiteX8" fmla="*/ 12780 w 362948"/>
                  <a:gd name="connsiteY8" fmla="*/ 181305 h 361971"/>
                  <a:gd name="connsiteX9" fmla="*/ 180836 w 362948"/>
                  <a:gd name="connsiteY9" fmla="*/ 12768 h 361971"/>
                  <a:gd name="connsiteX10" fmla="*/ 349530 w 362948"/>
                  <a:gd name="connsiteY10" fmla="*/ 180667 h 361971"/>
                  <a:gd name="connsiteX11" fmla="*/ 349530 w 362948"/>
                  <a:gd name="connsiteY11" fmla="*/ 180667 h 361971"/>
                  <a:gd name="connsiteX12" fmla="*/ 181474 w 362948"/>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948" h="361971">
                    <a:moveTo>
                      <a:pt x="181474" y="0"/>
                    </a:moveTo>
                    <a:cubicBezTo>
                      <a:pt x="81152" y="0"/>
                      <a:pt x="0" y="81077"/>
                      <a:pt x="0" y="180667"/>
                    </a:cubicBezTo>
                    <a:cubicBezTo>
                      <a:pt x="0" y="280257"/>
                      <a:pt x="81152" y="361972"/>
                      <a:pt x="181474" y="361972"/>
                    </a:cubicBezTo>
                    <a:cubicBezTo>
                      <a:pt x="281796" y="361972"/>
                      <a:pt x="362949" y="280895"/>
                      <a:pt x="362949" y="181305"/>
                    </a:cubicBezTo>
                    <a:cubicBezTo>
                      <a:pt x="362949" y="181305"/>
                      <a:pt x="362949" y="181305"/>
                      <a:pt x="362949"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8"/>
                      <a:pt x="88181" y="12768"/>
                      <a:pt x="180836" y="12768"/>
                    </a:cubicBezTo>
                    <a:cubicBezTo>
                      <a:pt x="274128" y="12768"/>
                      <a:pt x="349530" y="88099"/>
                      <a:pt x="349530" y="180667"/>
                    </a:cubicBezTo>
                    <a:lnTo>
                      <a:pt x="349530" y="180667"/>
                    </a:lnTo>
                    <a:cubicBezTo>
                      <a:pt x="349530" y="273873"/>
                      <a:pt x="274128" y="349204"/>
                      <a:pt x="181474" y="349204"/>
                    </a:cubicBezTo>
                    <a:close/>
                  </a:path>
                </a:pathLst>
              </a:custGeom>
              <a:grpFill/>
              <a:ln w="6390"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B2FA8DDB-7A70-4CE7-A518-457B0A711458}"/>
                  </a:ext>
                </a:extLst>
              </p:cNvPr>
              <p:cNvSpPr/>
              <p:nvPr/>
            </p:nvSpPr>
            <p:spPr>
              <a:xfrm>
                <a:off x="3669740" y="4371383"/>
                <a:ext cx="168586" cy="143531"/>
              </a:xfrm>
              <a:custGeom>
                <a:avLst/>
                <a:gdLst>
                  <a:gd name="connsiteX0" fmla="*/ 15336 w 168586"/>
                  <a:gd name="connsiteY0" fmla="*/ 120549 h 143531"/>
                  <a:gd name="connsiteX1" fmla="*/ 18531 w 168586"/>
                  <a:gd name="connsiteY1" fmla="*/ 112250 h 143531"/>
                  <a:gd name="connsiteX2" fmla="*/ 18531 w 168586"/>
                  <a:gd name="connsiteY2" fmla="*/ 112250 h 143531"/>
                  <a:gd name="connsiteX3" fmla="*/ 13419 w 168586"/>
                  <a:gd name="connsiteY3" fmla="*/ 91183 h 143531"/>
                  <a:gd name="connsiteX4" fmla="*/ 38979 w 168586"/>
                  <a:gd name="connsiteY4" fmla="*/ 91183 h 143531"/>
                  <a:gd name="connsiteX5" fmla="*/ 54314 w 168586"/>
                  <a:gd name="connsiteY5" fmla="*/ 139063 h 143531"/>
                  <a:gd name="connsiteX6" fmla="*/ 60066 w 168586"/>
                  <a:gd name="connsiteY6" fmla="*/ 142255 h 143531"/>
                  <a:gd name="connsiteX7" fmla="*/ 63261 w 168586"/>
                  <a:gd name="connsiteY7" fmla="*/ 141616 h 143531"/>
                  <a:gd name="connsiteX8" fmla="*/ 65816 w 168586"/>
                  <a:gd name="connsiteY8" fmla="*/ 132679 h 143531"/>
                  <a:gd name="connsiteX9" fmla="*/ 51759 w 168586"/>
                  <a:gd name="connsiteY9" fmla="*/ 91183 h 143531"/>
                  <a:gd name="connsiteX10" fmla="*/ 78596 w 168586"/>
                  <a:gd name="connsiteY10" fmla="*/ 91183 h 143531"/>
                  <a:gd name="connsiteX11" fmla="*/ 78596 w 168586"/>
                  <a:gd name="connsiteY11" fmla="*/ 135871 h 143531"/>
                  <a:gd name="connsiteX12" fmla="*/ 84986 w 168586"/>
                  <a:gd name="connsiteY12" fmla="*/ 142255 h 143531"/>
                  <a:gd name="connsiteX13" fmla="*/ 91376 w 168586"/>
                  <a:gd name="connsiteY13" fmla="*/ 135871 h 143531"/>
                  <a:gd name="connsiteX14" fmla="*/ 91376 w 168586"/>
                  <a:gd name="connsiteY14" fmla="*/ 91183 h 143531"/>
                  <a:gd name="connsiteX15" fmla="*/ 117575 w 168586"/>
                  <a:gd name="connsiteY15" fmla="*/ 91183 h 143531"/>
                  <a:gd name="connsiteX16" fmla="*/ 102878 w 168586"/>
                  <a:gd name="connsiteY16" fmla="*/ 133955 h 143531"/>
                  <a:gd name="connsiteX17" fmla="*/ 105434 w 168586"/>
                  <a:gd name="connsiteY17" fmla="*/ 142893 h 143531"/>
                  <a:gd name="connsiteX18" fmla="*/ 108629 w 168586"/>
                  <a:gd name="connsiteY18" fmla="*/ 143531 h 143531"/>
                  <a:gd name="connsiteX19" fmla="*/ 114380 w 168586"/>
                  <a:gd name="connsiteY19" fmla="*/ 140339 h 143531"/>
                  <a:gd name="connsiteX20" fmla="*/ 130355 w 168586"/>
                  <a:gd name="connsiteY20" fmla="*/ 91183 h 143531"/>
                  <a:gd name="connsiteX21" fmla="*/ 155915 w 168586"/>
                  <a:gd name="connsiteY21" fmla="*/ 91183 h 143531"/>
                  <a:gd name="connsiteX22" fmla="*/ 149525 w 168586"/>
                  <a:gd name="connsiteY22" fmla="*/ 114165 h 143531"/>
                  <a:gd name="connsiteX23" fmla="*/ 152720 w 168586"/>
                  <a:gd name="connsiteY23" fmla="*/ 122464 h 143531"/>
                  <a:gd name="connsiteX24" fmla="*/ 152720 w 168586"/>
                  <a:gd name="connsiteY24" fmla="*/ 122464 h 143531"/>
                  <a:gd name="connsiteX25" fmla="*/ 155275 w 168586"/>
                  <a:gd name="connsiteY25" fmla="*/ 123103 h 143531"/>
                  <a:gd name="connsiteX26" fmla="*/ 161027 w 168586"/>
                  <a:gd name="connsiteY26" fmla="*/ 119272 h 143531"/>
                  <a:gd name="connsiteX27" fmla="*/ 119492 w 168586"/>
                  <a:gd name="connsiteY27" fmla="*/ 7553 h 143531"/>
                  <a:gd name="connsiteX28" fmla="*/ 7668 w 168586"/>
                  <a:gd name="connsiteY28" fmla="*/ 49049 h 143531"/>
                  <a:gd name="connsiteX29" fmla="*/ 0 w 168586"/>
                  <a:gd name="connsiteY29" fmla="*/ 84160 h 143531"/>
                  <a:gd name="connsiteX30" fmla="*/ 6390 w 168586"/>
                  <a:gd name="connsiteY30" fmla="*/ 116719 h 143531"/>
                  <a:gd name="connsiteX31" fmla="*/ 15336 w 168586"/>
                  <a:gd name="connsiteY31" fmla="*/ 120549 h 143531"/>
                  <a:gd name="connsiteX32" fmla="*/ 51119 w 168586"/>
                  <a:gd name="connsiteY32" fmla="*/ 78415 h 143531"/>
                  <a:gd name="connsiteX33" fmla="*/ 77957 w 168586"/>
                  <a:gd name="connsiteY33" fmla="*/ 16490 h 143531"/>
                  <a:gd name="connsiteX34" fmla="*/ 77957 w 168586"/>
                  <a:gd name="connsiteY34" fmla="*/ 78415 h 143531"/>
                  <a:gd name="connsiteX35" fmla="*/ 51119 w 168586"/>
                  <a:gd name="connsiteY35" fmla="*/ 78415 h 143531"/>
                  <a:gd name="connsiteX36" fmla="*/ 90737 w 168586"/>
                  <a:gd name="connsiteY36" fmla="*/ 16490 h 143531"/>
                  <a:gd name="connsiteX37" fmla="*/ 117575 w 168586"/>
                  <a:gd name="connsiteY37" fmla="*/ 78415 h 143531"/>
                  <a:gd name="connsiteX38" fmla="*/ 90737 w 168586"/>
                  <a:gd name="connsiteY38" fmla="*/ 78415 h 143531"/>
                  <a:gd name="connsiteX39" fmla="*/ 90737 w 168586"/>
                  <a:gd name="connsiteY39" fmla="*/ 16490 h 143531"/>
                  <a:gd name="connsiteX40" fmla="*/ 155275 w 168586"/>
                  <a:gd name="connsiteY40" fmla="*/ 78415 h 143531"/>
                  <a:gd name="connsiteX41" fmla="*/ 130355 w 168586"/>
                  <a:gd name="connsiteY41" fmla="*/ 78415 h 143531"/>
                  <a:gd name="connsiteX42" fmla="*/ 107990 w 168586"/>
                  <a:gd name="connsiteY42" fmla="*/ 17767 h 143531"/>
                  <a:gd name="connsiteX43" fmla="*/ 155275 w 168586"/>
                  <a:gd name="connsiteY43" fmla="*/ 78415 h 143531"/>
                  <a:gd name="connsiteX44" fmla="*/ 155275 w 168586"/>
                  <a:gd name="connsiteY44" fmla="*/ 78415 h 143531"/>
                  <a:gd name="connsiteX45" fmla="*/ 61344 w 168586"/>
                  <a:gd name="connsiteY45" fmla="*/ 17129 h 143531"/>
                  <a:gd name="connsiteX46" fmla="*/ 38979 w 168586"/>
                  <a:gd name="connsiteY46" fmla="*/ 77776 h 143531"/>
                  <a:gd name="connsiteX47" fmla="*/ 14058 w 168586"/>
                  <a:gd name="connsiteY47" fmla="*/ 77776 h 143531"/>
                  <a:gd name="connsiteX48" fmla="*/ 61344 w 168586"/>
                  <a:gd name="connsiteY48" fmla="*/ 17129 h 143531"/>
                  <a:gd name="connsiteX49" fmla="*/ 61344 w 168586"/>
                  <a:gd name="connsiteY49" fmla="*/ 17129 h 14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68586" h="143531">
                    <a:moveTo>
                      <a:pt x="15336" y="120549"/>
                    </a:moveTo>
                    <a:cubicBezTo>
                      <a:pt x="18531" y="119272"/>
                      <a:pt x="20448" y="115442"/>
                      <a:pt x="18531" y="112250"/>
                    </a:cubicBezTo>
                    <a:cubicBezTo>
                      <a:pt x="18531" y="112250"/>
                      <a:pt x="18531" y="112250"/>
                      <a:pt x="18531" y="112250"/>
                    </a:cubicBezTo>
                    <a:cubicBezTo>
                      <a:pt x="15975" y="105866"/>
                      <a:pt x="14058" y="98205"/>
                      <a:pt x="13419" y="91183"/>
                    </a:cubicBezTo>
                    <a:lnTo>
                      <a:pt x="38979" y="91183"/>
                    </a:lnTo>
                    <a:cubicBezTo>
                      <a:pt x="40257" y="107781"/>
                      <a:pt x="46008" y="124379"/>
                      <a:pt x="54314" y="139063"/>
                    </a:cubicBezTo>
                    <a:cubicBezTo>
                      <a:pt x="55593" y="140978"/>
                      <a:pt x="57509" y="142255"/>
                      <a:pt x="60066" y="142255"/>
                    </a:cubicBezTo>
                    <a:cubicBezTo>
                      <a:pt x="61344" y="142255"/>
                      <a:pt x="61982" y="142255"/>
                      <a:pt x="63261" y="141616"/>
                    </a:cubicBezTo>
                    <a:cubicBezTo>
                      <a:pt x="66456" y="139701"/>
                      <a:pt x="67094" y="135871"/>
                      <a:pt x="65816" y="132679"/>
                    </a:cubicBezTo>
                    <a:cubicBezTo>
                      <a:pt x="58149" y="119911"/>
                      <a:pt x="53676" y="105866"/>
                      <a:pt x="51759" y="91183"/>
                    </a:cubicBezTo>
                    <a:lnTo>
                      <a:pt x="78596" y="91183"/>
                    </a:lnTo>
                    <a:lnTo>
                      <a:pt x="78596" y="135871"/>
                    </a:lnTo>
                    <a:cubicBezTo>
                      <a:pt x="78596" y="139701"/>
                      <a:pt x="81152" y="142255"/>
                      <a:pt x="84986" y="142255"/>
                    </a:cubicBezTo>
                    <a:cubicBezTo>
                      <a:pt x="88820" y="142255"/>
                      <a:pt x="91376" y="139701"/>
                      <a:pt x="91376" y="135871"/>
                    </a:cubicBezTo>
                    <a:lnTo>
                      <a:pt x="91376" y="91183"/>
                    </a:lnTo>
                    <a:lnTo>
                      <a:pt x="117575" y="91183"/>
                    </a:lnTo>
                    <a:cubicBezTo>
                      <a:pt x="115658" y="106504"/>
                      <a:pt x="111185" y="121187"/>
                      <a:pt x="102878" y="133955"/>
                    </a:cubicBezTo>
                    <a:cubicBezTo>
                      <a:pt x="100961" y="137147"/>
                      <a:pt x="102239" y="140978"/>
                      <a:pt x="105434" y="142893"/>
                    </a:cubicBezTo>
                    <a:cubicBezTo>
                      <a:pt x="106712" y="143531"/>
                      <a:pt x="107351" y="143531"/>
                      <a:pt x="108629" y="143531"/>
                    </a:cubicBezTo>
                    <a:cubicBezTo>
                      <a:pt x="111185" y="143531"/>
                      <a:pt x="113102" y="142255"/>
                      <a:pt x="114380" y="140339"/>
                    </a:cubicBezTo>
                    <a:cubicBezTo>
                      <a:pt x="123326" y="125656"/>
                      <a:pt x="129077" y="108419"/>
                      <a:pt x="130355" y="91183"/>
                    </a:cubicBezTo>
                    <a:lnTo>
                      <a:pt x="155915" y="91183"/>
                    </a:lnTo>
                    <a:cubicBezTo>
                      <a:pt x="155275" y="99482"/>
                      <a:pt x="153358" y="107143"/>
                      <a:pt x="149525" y="114165"/>
                    </a:cubicBezTo>
                    <a:cubicBezTo>
                      <a:pt x="148247" y="117357"/>
                      <a:pt x="149525" y="121187"/>
                      <a:pt x="152720" y="122464"/>
                    </a:cubicBezTo>
                    <a:cubicBezTo>
                      <a:pt x="152720" y="122464"/>
                      <a:pt x="152720" y="122464"/>
                      <a:pt x="152720" y="122464"/>
                    </a:cubicBezTo>
                    <a:cubicBezTo>
                      <a:pt x="153358" y="123103"/>
                      <a:pt x="154637" y="123103"/>
                      <a:pt x="155275" y="123103"/>
                    </a:cubicBezTo>
                    <a:cubicBezTo>
                      <a:pt x="157832" y="123103"/>
                      <a:pt x="159748" y="121826"/>
                      <a:pt x="161027" y="119272"/>
                    </a:cubicBezTo>
                    <a:cubicBezTo>
                      <a:pt x="180196" y="77138"/>
                      <a:pt x="161665" y="27343"/>
                      <a:pt x="119492" y="7553"/>
                    </a:cubicBezTo>
                    <a:cubicBezTo>
                      <a:pt x="77318" y="-11599"/>
                      <a:pt x="27477" y="6914"/>
                      <a:pt x="7668" y="49049"/>
                    </a:cubicBezTo>
                    <a:cubicBezTo>
                      <a:pt x="2556" y="59901"/>
                      <a:pt x="0" y="72031"/>
                      <a:pt x="0" y="84160"/>
                    </a:cubicBezTo>
                    <a:cubicBezTo>
                      <a:pt x="0" y="95013"/>
                      <a:pt x="1917" y="106504"/>
                      <a:pt x="6390" y="116719"/>
                    </a:cubicBezTo>
                    <a:cubicBezTo>
                      <a:pt x="8307" y="120549"/>
                      <a:pt x="12141" y="121826"/>
                      <a:pt x="15336" y="120549"/>
                    </a:cubicBezTo>
                    <a:close/>
                    <a:moveTo>
                      <a:pt x="51119" y="78415"/>
                    </a:moveTo>
                    <a:cubicBezTo>
                      <a:pt x="53036" y="55433"/>
                      <a:pt x="61982" y="33727"/>
                      <a:pt x="77957" y="16490"/>
                    </a:cubicBezTo>
                    <a:lnTo>
                      <a:pt x="77957" y="78415"/>
                    </a:lnTo>
                    <a:lnTo>
                      <a:pt x="51119" y="78415"/>
                    </a:lnTo>
                    <a:close/>
                    <a:moveTo>
                      <a:pt x="90737" y="16490"/>
                    </a:moveTo>
                    <a:cubicBezTo>
                      <a:pt x="106712" y="33089"/>
                      <a:pt x="115658" y="55433"/>
                      <a:pt x="117575" y="78415"/>
                    </a:cubicBezTo>
                    <a:lnTo>
                      <a:pt x="90737" y="78415"/>
                    </a:lnTo>
                    <a:lnTo>
                      <a:pt x="90737" y="16490"/>
                    </a:lnTo>
                    <a:close/>
                    <a:moveTo>
                      <a:pt x="155275" y="78415"/>
                    </a:moveTo>
                    <a:lnTo>
                      <a:pt x="130355" y="78415"/>
                    </a:lnTo>
                    <a:cubicBezTo>
                      <a:pt x="129077" y="56071"/>
                      <a:pt x="120770" y="35004"/>
                      <a:pt x="107990" y="17767"/>
                    </a:cubicBezTo>
                    <a:cubicBezTo>
                      <a:pt x="134189" y="26705"/>
                      <a:pt x="152720" y="50325"/>
                      <a:pt x="155275" y="78415"/>
                    </a:cubicBezTo>
                    <a:lnTo>
                      <a:pt x="155275" y="78415"/>
                    </a:lnTo>
                    <a:close/>
                    <a:moveTo>
                      <a:pt x="61344" y="17129"/>
                    </a:moveTo>
                    <a:cubicBezTo>
                      <a:pt x="47925" y="35004"/>
                      <a:pt x="40257" y="56071"/>
                      <a:pt x="38979" y="77776"/>
                    </a:cubicBezTo>
                    <a:lnTo>
                      <a:pt x="14058" y="77776"/>
                    </a:lnTo>
                    <a:cubicBezTo>
                      <a:pt x="15975" y="50325"/>
                      <a:pt x="34506" y="26705"/>
                      <a:pt x="61344" y="17129"/>
                    </a:cubicBezTo>
                    <a:lnTo>
                      <a:pt x="61344" y="17129"/>
                    </a:lnTo>
                    <a:close/>
                  </a:path>
                </a:pathLst>
              </a:custGeom>
              <a:grpFill/>
              <a:ln w="6390"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52188638-DC0E-D9CB-4592-715B6468E5CC}"/>
                  </a:ext>
                </a:extLst>
              </p:cNvPr>
              <p:cNvSpPr/>
              <p:nvPr/>
            </p:nvSpPr>
            <p:spPr>
              <a:xfrm>
                <a:off x="3665998" y="4501040"/>
                <a:ext cx="247485" cy="100696"/>
              </a:xfrm>
              <a:custGeom>
                <a:avLst/>
                <a:gdLst>
                  <a:gd name="connsiteX0" fmla="*/ 241448 w 247485"/>
                  <a:gd name="connsiteY0" fmla="*/ 21535 h 100696"/>
                  <a:gd name="connsiteX1" fmla="*/ 184578 w 247485"/>
                  <a:gd name="connsiteY1" fmla="*/ 1745 h 100696"/>
                  <a:gd name="connsiteX2" fmla="*/ 120678 w 247485"/>
                  <a:gd name="connsiteY2" fmla="*/ 24089 h 100696"/>
                  <a:gd name="connsiteX3" fmla="*/ 88729 w 247485"/>
                  <a:gd name="connsiteY3" fmla="*/ 28558 h 100696"/>
                  <a:gd name="connsiteX4" fmla="*/ 77866 w 247485"/>
                  <a:gd name="connsiteY4" fmla="*/ 34942 h 100696"/>
                  <a:gd name="connsiteX5" fmla="*/ 29942 w 247485"/>
                  <a:gd name="connsiteY5" fmla="*/ 4298 h 100696"/>
                  <a:gd name="connsiteX6" fmla="*/ 29302 w 247485"/>
                  <a:gd name="connsiteY6" fmla="*/ 3660 h 100696"/>
                  <a:gd name="connsiteX7" fmla="*/ 2465 w 247485"/>
                  <a:gd name="connsiteY7" fmla="*/ 9406 h 100696"/>
                  <a:gd name="connsiteX8" fmla="*/ 4382 w 247485"/>
                  <a:gd name="connsiteY8" fmla="*/ 27281 h 100696"/>
                  <a:gd name="connsiteX9" fmla="*/ 52306 w 247485"/>
                  <a:gd name="connsiteY9" fmla="*/ 72607 h 100696"/>
                  <a:gd name="connsiteX10" fmla="*/ 67642 w 247485"/>
                  <a:gd name="connsiteY10" fmla="*/ 81545 h 100696"/>
                  <a:gd name="connsiteX11" fmla="*/ 116206 w 247485"/>
                  <a:gd name="connsiteY11" fmla="*/ 98143 h 100696"/>
                  <a:gd name="connsiteX12" fmla="*/ 132819 w 247485"/>
                  <a:gd name="connsiteY12" fmla="*/ 100697 h 100696"/>
                  <a:gd name="connsiteX13" fmla="*/ 145599 w 247485"/>
                  <a:gd name="connsiteY13" fmla="*/ 98781 h 100696"/>
                  <a:gd name="connsiteX14" fmla="*/ 196719 w 247485"/>
                  <a:gd name="connsiteY14" fmla="*/ 85375 h 100696"/>
                  <a:gd name="connsiteX15" fmla="*/ 218445 w 247485"/>
                  <a:gd name="connsiteY15" fmla="*/ 86013 h 100696"/>
                  <a:gd name="connsiteX16" fmla="*/ 221001 w 247485"/>
                  <a:gd name="connsiteY16" fmla="*/ 86652 h 100696"/>
                  <a:gd name="connsiteX17" fmla="*/ 229307 w 247485"/>
                  <a:gd name="connsiteY17" fmla="*/ 82821 h 100696"/>
                  <a:gd name="connsiteX18" fmla="*/ 225474 w 247485"/>
                  <a:gd name="connsiteY18" fmla="*/ 74522 h 100696"/>
                  <a:gd name="connsiteX19" fmla="*/ 225474 w 247485"/>
                  <a:gd name="connsiteY19" fmla="*/ 74522 h 100696"/>
                  <a:gd name="connsiteX20" fmla="*/ 222917 w 247485"/>
                  <a:gd name="connsiteY20" fmla="*/ 73884 h 100696"/>
                  <a:gd name="connsiteX21" fmla="*/ 194163 w 247485"/>
                  <a:gd name="connsiteY21" fmla="*/ 72607 h 100696"/>
                  <a:gd name="connsiteX22" fmla="*/ 143043 w 247485"/>
                  <a:gd name="connsiteY22" fmla="*/ 86013 h 100696"/>
                  <a:gd name="connsiteX23" fmla="*/ 121318 w 247485"/>
                  <a:gd name="connsiteY23" fmla="*/ 85375 h 100696"/>
                  <a:gd name="connsiteX24" fmla="*/ 72754 w 247485"/>
                  <a:gd name="connsiteY24" fmla="*/ 68777 h 100696"/>
                  <a:gd name="connsiteX25" fmla="*/ 61891 w 247485"/>
                  <a:gd name="connsiteY25" fmla="*/ 62393 h 100696"/>
                  <a:gd name="connsiteX26" fmla="*/ 13967 w 247485"/>
                  <a:gd name="connsiteY26" fmla="*/ 17705 h 100696"/>
                  <a:gd name="connsiteX27" fmla="*/ 13328 w 247485"/>
                  <a:gd name="connsiteY27" fmla="*/ 17066 h 100696"/>
                  <a:gd name="connsiteX28" fmla="*/ 15244 w 247485"/>
                  <a:gd name="connsiteY28" fmla="*/ 15151 h 100696"/>
                  <a:gd name="connsiteX29" fmla="*/ 24829 w 247485"/>
                  <a:gd name="connsiteY29" fmla="*/ 15151 h 100696"/>
                  <a:gd name="connsiteX30" fmla="*/ 72115 w 247485"/>
                  <a:gd name="connsiteY30" fmla="*/ 45156 h 100696"/>
                  <a:gd name="connsiteX31" fmla="*/ 70837 w 247485"/>
                  <a:gd name="connsiteY31" fmla="*/ 53455 h 100696"/>
                  <a:gd name="connsiteX32" fmla="*/ 86812 w 247485"/>
                  <a:gd name="connsiteY32" fmla="*/ 64946 h 100696"/>
                  <a:gd name="connsiteX33" fmla="*/ 120040 w 247485"/>
                  <a:gd name="connsiteY33" fmla="*/ 68777 h 100696"/>
                  <a:gd name="connsiteX34" fmla="*/ 125151 w 247485"/>
                  <a:gd name="connsiteY34" fmla="*/ 68777 h 100696"/>
                  <a:gd name="connsiteX35" fmla="*/ 139209 w 247485"/>
                  <a:gd name="connsiteY35" fmla="*/ 66223 h 100696"/>
                  <a:gd name="connsiteX36" fmla="*/ 164769 w 247485"/>
                  <a:gd name="connsiteY36" fmla="*/ 57286 h 100696"/>
                  <a:gd name="connsiteX37" fmla="*/ 168603 w 247485"/>
                  <a:gd name="connsiteY37" fmla="*/ 48986 h 100696"/>
                  <a:gd name="connsiteX38" fmla="*/ 160296 w 247485"/>
                  <a:gd name="connsiteY38" fmla="*/ 45156 h 100696"/>
                  <a:gd name="connsiteX39" fmla="*/ 160296 w 247485"/>
                  <a:gd name="connsiteY39" fmla="*/ 45156 h 100696"/>
                  <a:gd name="connsiteX40" fmla="*/ 134736 w 247485"/>
                  <a:gd name="connsiteY40" fmla="*/ 54094 h 100696"/>
                  <a:gd name="connsiteX41" fmla="*/ 121318 w 247485"/>
                  <a:gd name="connsiteY41" fmla="*/ 55370 h 100696"/>
                  <a:gd name="connsiteX42" fmla="*/ 87451 w 247485"/>
                  <a:gd name="connsiteY42" fmla="*/ 51540 h 100696"/>
                  <a:gd name="connsiteX43" fmla="*/ 83617 w 247485"/>
                  <a:gd name="connsiteY43" fmla="*/ 50902 h 100696"/>
                  <a:gd name="connsiteX44" fmla="*/ 83617 w 247485"/>
                  <a:gd name="connsiteY44" fmla="*/ 50902 h 100696"/>
                  <a:gd name="connsiteX45" fmla="*/ 94480 w 247485"/>
                  <a:gd name="connsiteY45" fmla="*/ 39410 h 100696"/>
                  <a:gd name="connsiteX46" fmla="*/ 125151 w 247485"/>
                  <a:gd name="connsiteY46" fmla="*/ 34942 h 100696"/>
                  <a:gd name="connsiteX47" fmla="*/ 129625 w 247485"/>
                  <a:gd name="connsiteY47" fmla="*/ 33026 h 100696"/>
                  <a:gd name="connsiteX48" fmla="*/ 182022 w 247485"/>
                  <a:gd name="connsiteY48" fmla="*/ 11959 h 100696"/>
                  <a:gd name="connsiteX49" fmla="*/ 238892 w 247485"/>
                  <a:gd name="connsiteY49" fmla="*/ 31750 h 100696"/>
                  <a:gd name="connsiteX50" fmla="*/ 247200 w 247485"/>
                  <a:gd name="connsiteY50" fmla="*/ 27919 h 100696"/>
                  <a:gd name="connsiteX51" fmla="*/ 241448 w 247485"/>
                  <a:gd name="connsiteY51" fmla="*/ 21535 h 100696"/>
                  <a:gd name="connsiteX52" fmla="*/ 241448 w 247485"/>
                  <a:gd name="connsiteY52" fmla="*/ 21535 h 10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47485" h="100696">
                    <a:moveTo>
                      <a:pt x="241448" y="21535"/>
                    </a:moveTo>
                    <a:lnTo>
                      <a:pt x="184578" y="1745"/>
                    </a:lnTo>
                    <a:cubicBezTo>
                      <a:pt x="155823" y="-6554"/>
                      <a:pt x="128346" y="17066"/>
                      <a:pt x="120678" y="24089"/>
                    </a:cubicBezTo>
                    <a:cubicBezTo>
                      <a:pt x="109816" y="24089"/>
                      <a:pt x="98953" y="25366"/>
                      <a:pt x="88729" y="28558"/>
                    </a:cubicBezTo>
                    <a:cubicBezTo>
                      <a:pt x="84895" y="29834"/>
                      <a:pt x="81061" y="31750"/>
                      <a:pt x="77866" y="34942"/>
                    </a:cubicBezTo>
                    <a:lnTo>
                      <a:pt x="29942" y="4298"/>
                    </a:lnTo>
                    <a:lnTo>
                      <a:pt x="29302" y="3660"/>
                    </a:lnTo>
                    <a:cubicBezTo>
                      <a:pt x="19718" y="-809"/>
                      <a:pt x="8855" y="1745"/>
                      <a:pt x="2465" y="9406"/>
                    </a:cubicBezTo>
                    <a:cubicBezTo>
                      <a:pt x="-1369" y="15151"/>
                      <a:pt x="-730" y="22812"/>
                      <a:pt x="4382" y="27281"/>
                    </a:cubicBezTo>
                    <a:lnTo>
                      <a:pt x="52306" y="72607"/>
                    </a:lnTo>
                    <a:cubicBezTo>
                      <a:pt x="56779" y="76437"/>
                      <a:pt x="61891" y="79629"/>
                      <a:pt x="67642" y="81545"/>
                    </a:cubicBezTo>
                    <a:lnTo>
                      <a:pt x="116206" y="98143"/>
                    </a:lnTo>
                    <a:cubicBezTo>
                      <a:pt x="121318" y="100058"/>
                      <a:pt x="127068" y="100697"/>
                      <a:pt x="132819" y="100697"/>
                    </a:cubicBezTo>
                    <a:cubicBezTo>
                      <a:pt x="137293" y="100697"/>
                      <a:pt x="141126" y="100058"/>
                      <a:pt x="145599" y="98781"/>
                    </a:cubicBezTo>
                    <a:lnTo>
                      <a:pt x="196719" y="85375"/>
                    </a:lnTo>
                    <a:cubicBezTo>
                      <a:pt x="203748" y="83460"/>
                      <a:pt x="211416" y="84098"/>
                      <a:pt x="218445" y="86013"/>
                    </a:cubicBezTo>
                    <a:lnTo>
                      <a:pt x="221001" y="86652"/>
                    </a:lnTo>
                    <a:cubicBezTo>
                      <a:pt x="224196" y="87929"/>
                      <a:pt x="228030" y="86013"/>
                      <a:pt x="229307" y="82821"/>
                    </a:cubicBezTo>
                    <a:cubicBezTo>
                      <a:pt x="230585" y="79629"/>
                      <a:pt x="228669" y="75799"/>
                      <a:pt x="225474" y="74522"/>
                    </a:cubicBezTo>
                    <a:cubicBezTo>
                      <a:pt x="225474" y="74522"/>
                      <a:pt x="225474" y="74522"/>
                      <a:pt x="225474" y="74522"/>
                    </a:cubicBezTo>
                    <a:lnTo>
                      <a:pt x="222917" y="73884"/>
                    </a:lnTo>
                    <a:cubicBezTo>
                      <a:pt x="213333" y="70692"/>
                      <a:pt x="203748" y="70054"/>
                      <a:pt x="194163" y="72607"/>
                    </a:cubicBezTo>
                    <a:lnTo>
                      <a:pt x="143043" y="86013"/>
                    </a:lnTo>
                    <a:cubicBezTo>
                      <a:pt x="136014" y="87929"/>
                      <a:pt x="128346" y="87929"/>
                      <a:pt x="121318" y="85375"/>
                    </a:cubicBezTo>
                    <a:lnTo>
                      <a:pt x="72754" y="68777"/>
                    </a:lnTo>
                    <a:cubicBezTo>
                      <a:pt x="68920" y="67500"/>
                      <a:pt x="65086" y="64946"/>
                      <a:pt x="61891" y="62393"/>
                    </a:cubicBezTo>
                    <a:lnTo>
                      <a:pt x="13967" y="17705"/>
                    </a:lnTo>
                    <a:cubicBezTo>
                      <a:pt x="13328" y="17066"/>
                      <a:pt x="13328" y="17066"/>
                      <a:pt x="13328" y="17066"/>
                    </a:cubicBezTo>
                    <a:cubicBezTo>
                      <a:pt x="13328" y="17066"/>
                      <a:pt x="13967" y="15790"/>
                      <a:pt x="15244" y="15151"/>
                    </a:cubicBezTo>
                    <a:cubicBezTo>
                      <a:pt x="18439" y="13874"/>
                      <a:pt x="21634" y="13874"/>
                      <a:pt x="24829" y="15151"/>
                    </a:cubicBezTo>
                    <a:lnTo>
                      <a:pt x="72115" y="45156"/>
                    </a:lnTo>
                    <a:cubicBezTo>
                      <a:pt x="70837" y="47710"/>
                      <a:pt x="70837" y="50263"/>
                      <a:pt x="70837" y="53455"/>
                    </a:cubicBezTo>
                    <a:cubicBezTo>
                      <a:pt x="72115" y="61116"/>
                      <a:pt x="79144" y="66223"/>
                      <a:pt x="86812" y="64946"/>
                    </a:cubicBezTo>
                    <a:lnTo>
                      <a:pt x="120040" y="68777"/>
                    </a:lnTo>
                    <a:cubicBezTo>
                      <a:pt x="121318" y="68777"/>
                      <a:pt x="123235" y="68777"/>
                      <a:pt x="125151" y="68777"/>
                    </a:cubicBezTo>
                    <a:cubicBezTo>
                      <a:pt x="130263" y="68777"/>
                      <a:pt x="134736" y="68138"/>
                      <a:pt x="139209" y="66223"/>
                    </a:cubicBezTo>
                    <a:lnTo>
                      <a:pt x="164769" y="57286"/>
                    </a:lnTo>
                    <a:cubicBezTo>
                      <a:pt x="167964" y="56009"/>
                      <a:pt x="169881" y="52817"/>
                      <a:pt x="168603" y="48986"/>
                    </a:cubicBezTo>
                    <a:cubicBezTo>
                      <a:pt x="167325" y="45156"/>
                      <a:pt x="164130" y="43879"/>
                      <a:pt x="160296" y="45156"/>
                    </a:cubicBezTo>
                    <a:lnTo>
                      <a:pt x="160296" y="45156"/>
                    </a:lnTo>
                    <a:lnTo>
                      <a:pt x="134736" y="54094"/>
                    </a:lnTo>
                    <a:cubicBezTo>
                      <a:pt x="130263" y="55370"/>
                      <a:pt x="125791" y="56009"/>
                      <a:pt x="121318" y="55370"/>
                    </a:cubicBezTo>
                    <a:lnTo>
                      <a:pt x="87451" y="51540"/>
                    </a:lnTo>
                    <a:cubicBezTo>
                      <a:pt x="86173" y="51540"/>
                      <a:pt x="84895" y="51540"/>
                      <a:pt x="83617" y="50902"/>
                    </a:cubicBezTo>
                    <a:lnTo>
                      <a:pt x="83617" y="50902"/>
                    </a:lnTo>
                    <a:cubicBezTo>
                      <a:pt x="82978" y="48986"/>
                      <a:pt x="86812" y="41964"/>
                      <a:pt x="94480" y="39410"/>
                    </a:cubicBezTo>
                    <a:cubicBezTo>
                      <a:pt x="104704" y="36218"/>
                      <a:pt x="114928" y="34942"/>
                      <a:pt x="125151" y="34942"/>
                    </a:cubicBezTo>
                    <a:cubicBezTo>
                      <a:pt x="127068" y="34942"/>
                      <a:pt x="128346" y="34303"/>
                      <a:pt x="129625" y="33026"/>
                    </a:cubicBezTo>
                    <a:cubicBezTo>
                      <a:pt x="129625" y="33026"/>
                      <a:pt x="157101" y="4937"/>
                      <a:pt x="182022" y="11959"/>
                    </a:cubicBezTo>
                    <a:lnTo>
                      <a:pt x="238892" y="31750"/>
                    </a:lnTo>
                    <a:cubicBezTo>
                      <a:pt x="242087" y="33026"/>
                      <a:pt x="245921" y="31111"/>
                      <a:pt x="247200" y="27919"/>
                    </a:cubicBezTo>
                    <a:cubicBezTo>
                      <a:pt x="248477" y="24727"/>
                      <a:pt x="245282" y="22812"/>
                      <a:pt x="241448" y="21535"/>
                    </a:cubicBezTo>
                    <a:lnTo>
                      <a:pt x="241448" y="21535"/>
                    </a:lnTo>
                    <a:close/>
                  </a:path>
                </a:pathLst>
              </a:custGeom>
              <a:grpFill/>
              <a:ln w="6390" cap="flat">
                <a:noFill/>
                <a:prstDash val="solid"/>
                <a:miter/>
              </a:ln>
            </p:spPr>
            <p:txBody>
              <a:bodyPr rtlCol="0" anchor="ctr"/>
              <a:lstStyle/>
              <a:p>
                <a:endParaRPr lang="en-US"/>
              </a:p>
            </p:txBody>
          </p:sp>
        </p:grpSp>
      </p:grpSp>
      <p:grpSp>
        <p:nvGrpSpPr>
          <p:cNvPr id="80" name="Group 79">
            <a:extLst>
              <a:ext uri="{FF2B5EF4-FFF2-40B4-BE49-F238E27FC236}">
                <a16:creationId xmlns:a16="http://schemas.microsoft.com/office/drawing/2014/main" id="{D63277AC-4266-DA66-BE52-A4C7392262C6}"/>
              </a:ext>
            </a:extLst>
          </p:cNvPr>
          <p:cNvGrpSpPr/>
          <p:nvPr/>
        </p:nvGrpSpPr>
        <p:grpSpPr>
          <a:xfrm>
            <a:off x="5180762" y="2232012"/>
            <a:ext cx="6541337" cy="875240"/>
            <a:chOff x="5180762" y="2232012"/>
            <a:chExt cx="6541337" cy="875240"/>
          </a:xfrm>
        </p:grpSpPr>
        <p:grpSp>
          <p:nvGrpSpPr>
            <p:cNvPr id="73" name="Group 72">
              <a:extLst>
                <a:ext uri="{FF2B5EF4-FFF2-40B4-BE49-F238E27FC236}">
                  <a16:creationId xmlns:a16="http://schemas.microsoft.com/office/drawing/2014/main" id="{BE10EAC8-840B-669F-BD04-9AA6DEA840EB}"/>
                </a:ext>
              </a:extLst>
            </p:cNvPr>
            <p:cNvGrpSpPr/>
            <p:nvPr/>
          </p:nvGrpSpPr>
          <p:grpSpPr>
            <a:xfrm>
              <a:off x="5180762" y="2321246"/>
              <a:ext cx="1129357" cy="696773"/>
              <a:chOff x="5180762" y="2331078"/>
              <a:chExt cx="1129357" cy="696773"/>
            </a:xfrm>
          </p:grpSpPr>
          <p:sp>
            <p:nvSpPr>
              <p:cNvPr id="43" name="TextBox 42">
                <a:extLst>
                  <a:ext uri="{FF2B5EF4-FFF2-40B4-BE49-F238E27FC236}">
                    <a16:creationId xmlns:a16="http://schemas.microsoft.com/office/drawing/2014/main" id="{DF832FB6-9B0B-45D3-3277-FEA220316689}"/>
                  </a:ext>
                </a:extLst>
              </p:cNvPr>
              <p:cNvSpPr txBox="1">
                <a:spLocks/>
              </p:cNvSpPr>
              <p:nvPr/>
            </p:nvSpPr>
            <p:spPr>
              <a:xfrm>
                <a:off x="5180762" y="2331078"/>
                <a:ext cx="1129357" cy="677108"/>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488"/>
                  </a:spcBef>
                  <a:spcAft>
                    <a:spcPts val="0"/>
                  </a:spcAft>
                  <a:buClrTx/>
                  <a:buSzPct val="100000"/>
                  <a:buFontTx/>
                  <a:buNone/>
                  <a:tabLst/>
                  <a:defRPr/>
                </a:pPr>
                <a:r>
                  <a:rPr kumimoji="0" lang="en-US" sz="4400" b="1" i="0" u="none" strike="noStrike" kern="0" cap="none" spc="0" normalizeH="0" baseline="0" noProof="0">
                    <a:ln>
                      <a:noFill/>
                    </a:ln>
                    <a:solidFill>
                      <a:schemeClr val="accent5"/>
                    </a:solidFill>
                    <a:effectLst/>
                    <a:uLnTx/>
                    <a:uFillTx/>
                  </a:rPr>
                  <a:t>02</a:t>
                </a:r>
                <a:endParaRPr kumimoji="0" lang="en-US" sz="4400" b="1" i="0" u="none" strike="noStrike" kern="0" cap="none" spc="0" normalizeH="0" baseline="0" noProof="0" dirty="0">
                  <a:ln>
                    <a:noFill/>
                  </a:ln>
                  <a:solidFill>
                    <a:schemeClr val="accent5"/>
                  </a:solidFill>
                  <a:effectLst/>
                  <a:uLnTx/>
                  <a:uFillTx/>
                </a:endParaRPr>
              </a:p>
            </p:txBody>
          </p:sp>
          <p:sp>
            <p:nvSpPr>
              <p:cNvPr id="44" name="Chord 43">
                <a:extLst>
                  <a:ext uri="{FF2B5EF4-FFF2-40B4-BE49-F238E27FC236}">
                    <a16:creationId xmlns:a16="http://schemas.microsoft.com/office/drawing/2014/main" id="{CD25DA6E-E114-7944-47AD-A764AB365F72}"/>
                  </a:ext>
                </a:extLst>
              </p:cNvPr>
              <p:cNvSpPr/>
              <p:nvPr/>
            </p:nvSpPr>
            <p:spPr bwMode="gray">
              <a:xfrm>
                <a:off x="5821766" y="2591469"/>
                <a:ext cx="454318" cy="436382"/>
              </a:xfrm>
              <a:prstGeom prst="chord">
                <a:avLst>
                  <a:gd name="adj1" fmla="val 2700000"/>
                  <a:gd name="adj2" fmla="val 18834732"/>
                </a:avLst>
              </a:prstGeom>
              <a:solidFill>
                <a:srgbClr val="0097A9">
                  <a:alpha val="3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grpSp>
        <p:sp>
          <p:nvSpPr>
            <p:cNvPr id="58" name="TextBox 57">
              <a:extLst>
                <a:ext uri="{FF2B5EF4-FFF2-40B4-BE49-F238E27FC236}">
                  <a16:creationId xmlns:a16="http://schemas.microsoft.com/office/drawing/2014/main" id="{38342082-5671-B4AC-457F-E4500EF77B20}"/>
                </a:ext>
              </a:extLst>
            </p:cNvPr>
            <p:cNvSpPr txBox="1">
              <a:spLocks/>
            </p:cNvSpPr>
            <p:nvPr/>
          </p:nvSpPr>
          <p:spPr>
            <a:xfrm>
              <a:off x="6410424" y="2232012"/>
              <a:ext cx="5311675" cy="875240"/>
            </a:xfrm>
            <a:prstGeom prst="rect">
              <a:avLst/>
            </a:prstGeom>
            <a:solidFill>
              <a:schemeClr val="bg1"/>
            </a:solidFill>
            <a:effectLst/>
          </p:spPr>
          <p:txBody>
            <a:bodyPr wrap="square" lIns="9144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rPr>
                <a:t>Cloud adoption drivers</a:t>
              </a:r>
              <a:br>
                <a:rPr kumimoji="0" lang="en-US" sz="2000" b="1" i="0" u="none" strike="noStrike" kern="0" cap="none" spc="0" normalizeH="0" baseline="0" noProof="0" dirty="0">
                  <a:ln>
                    <a:noFill/>
                  </a:ln>
                  <a:effectLst/>
                  <a:uLnTx/>
                  <a:uFillTx/>
                </a:rPr>
              </a:br>
              <a:r>
                <a:rPr kumimoji="0" lang="en-US" sz="2000" b="1" i="0" u="none" strike="noStrike" kern="0" cap="none" spc="0" normalizeH="0" baseline="0" noProof="0" dirty="0">
                  <a:ln>
                    <a:noFill/>
                  </a:ln>
                  <a:effectLst/>
                  <a:uLnTx/>
                  <a:uFillTx/>
                </a:rPr>
                <a:t>and strategy</a:t>
              </a:r>
              <a:endParaRPr kumimoji="0" lang="en-GB" sz="2000" b="0" i="0" u="none" strike="noStrike" kern="0" cap="none" spc="0" normalizeH="0" baseline="0" noProof="0" dirty="0">
                <a:ln>
                  <a:noFill/>
                </a:ln>
                <a:effectLst/>
                <a:uLnTx/>
                <a:uFillTx/>
              </a:endParaRPr>
            </a:p>
          </p:txBody>
        </p:sp>
        <p:grpSp>
          <p:nvGrpSpPr>
            <p:cNvPr id="26" name="Graphic 4">
              <a:extLst>
                <a:ext uri="{FF2B5EF4-FFF2-40B4-BE49-F238E27FC236}">
                  <a16:creationId xmlns:a16="http://schemas.microsoft.com/office/drawing/2014/main" id="{B2E781BA-BD13-EE3A-8790-3B5761E58FCA}"/>
                </a:ext>
              </a:extLst>
            </p:cNvPr>
            <p:cNvGrpSpPr/>
            <p:nvPr/>
          </p:nvGrpSpPr>
          <p:grpSpPr>
            <a:xfrm>
              <a:off x="10792639" y="2367513"/>
              <a:ext cx="604239" cy="604239"/>
              <a:chOff x="467743" y="4308712"/>
              <a:chExt cx="361670" cy="361971"/>
            </a:xfrm>
            <a:solidFill>
              <a:srgbClr val="0097A9"/>
            </a:solidFill>
          </p:grpSpPr>
          <p:sp>
            <p:nvSpPr>
              <p:cNvPr id="27" name="Graphic 4">
                <a:extLst>
                  <a:ext uri="{FF2B5EF4-FFF2-40B4-BE49-F238E27FC236}">
                    <a16:creationId xmlns:a16="http://schemas.microsoft.com/office/drawing/2014/main" id="{C63E4C10-18B8-43C4-A396-04205FB02209}"/>
                  </a:ext>
                </a:extLst>
              </p:cNvPr>
              <p:cNvSpPr/>
              <p:nvPr/>
            </p:nvSpPr>
            <p:spPr>
              <a:xfrm>
                <a:off x="467743" y="4308712"/>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9204 h 361971"/>
                  <a:gd name="connsiteX8" fmla="*/ 12780 w 361670"/>
                  <a:gd name="connsiteY8" fmla="*/ 181305 h 361971"/>
                  <a:gd name="connsiteX9" fmla="*/ 180835 w 361670"/>
                  <a:gd name="connsiteY9" fmla="*/ 12768 h 361971"/>
                  <a:gd name="connsiteX10" fmla="*/ 348891 w 361670"/>
                  <a:gd name="connsiteY10" fmla="*/ 181305 h 361971"/>
                  <a:gd name="connsiteX11" fmla="*/ 348891 w 361670"/>
                  <a:gd name="connsiteY11" fmla="*/ 181305 h 361971"/>
                  <a:gd name="connsiteX12" fmla="*/ 180835 w 361670"/>
                  <a:gd name="connsiteY12" fmla="*/ 349204 h 361971"/>
                  <a:gd name="connsiteX13" fmla="*/ 180835 w 361670"/>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1077"/>
                      <a:pt x="281157" y="0"/>
                      <a:pt x="180835" y="0"/>
                    </a:cubicBezTo>
                    <a:cubicBezTo>
                      <a:pt x="180835" y="0"/>
                      <a:pt x="180835" y="0"/>
                      <a:pt x="180835" y="0"/>
                    </a:cubicBezTo>
                    <a:close/>
                    <a:moveTo>
                      <a:pt x="180835" y="349204"/>
                    </a:moveTo>
                    <a:cubicBezTo>
                      <a:pt x="87542" y="349204"/>
                      <a:pt x="12780" y="273873"/>
                      <a:pt x="12780" y="181305"/>
                    </a:cubicBezTo>
                    <a:cubicBezTo>
                      <a:pt x="12780" y="88099"/>
                      <a:pt x="88181" y="12768"/>
                      <a:pt x="180835" y="12768"/>
                    </a:cubicBezTo>
                    <a:cubicBezTo>
                      <a:pt x="273489" y="12768"/>
                      <a:pt x="348891" y="88099"/>
                      <a:pt x="348891" y="181305"/>
                    </a:cubicBezTo>
                    <a:lnTo>
                      <a:pt x="348891"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3ACDD52A-8D9D-7118-59DD-F92F0F832A31}"/>
                  </a:ext>
                </a:extLst>
              </p:cNvPr>
              <p:cNvSpPr/>
              <p:nvPr/>
            </p:nvSpPr>
            <p:spPr>
              <a:xfrm>
                <a:off x="617431" y="4466396"/>
                <a:ext cx="61819" cy="127041"/>
              </a:xfrm>
              <a:custGeom>
                <a:avLst/>
                <a:gdLst>
                  <a:gd name="connsiteX0" fmla="*/ 50956 w 61819"/>
                  <a:gd name="connsiteY0" fmla="*/ 91930 h 127041"/>
                  <a:gd name="connsiteX1" fmla="*/ 37537 w 61819"/>
                  <a:gd name="connsiteY1" fmla="*/ 105336 h 127041"/>
                  <a:gd name="connsiteX2" fmla="*/ 37537 w 61819"/>
                  <a:gd name="connsiteY2" fmla="*/ 6384 h 127041"/>
                  <a:gd name="connsiteX3" fmla="*/ 31147 w 61819"/>
                  <a:gd name="connsiteY3" fmla="*/ 0 h 127041"/>
                  <a:gd name="connsiteX4" fmla="*/ 24757 w 61819"/>
                  <a:gd name="connsiteY4" fmla="*/ 6384 h 127041"/>
                  <a:gd name="connsiteX5" fmla="*/ 24757 w 61819"/>
                  <a:gd name="connsiteY5" fmla="*/ 105336 h 127041"/>
                  <a:gd name="connsiteX6" fmla="*/ 11339 w 61819"/>
                  <a:gd name="connsiteY6" fmla="*/ 91930 h 127041"/>
                  <a:gd name="connsiteX7" fmla="*/ 2393 w 61819"/>
                  <a:gd name="connsiteY7" fmla="*/ 90653 h 127041"/>
                  <a:gd name="connsiteX8" fmla="*/ 1115 w 61819"/>
                  <a:gd name="connsiteY8" fmla="*/ 99590 h 127041"/>
                  <a:gd name="connsiteX9" fmla="*/ 2393 w 61819"/>
                  <a:gd name="connsiteY9" fmla="*/ 100867 h 127041"/>
                  <a:gd name="connsiteX10" fmla="*/ 26674 w 61819"/>
                  <a:gd name="connsiteY10" fmla="*/ 125126 h 127041"/>
                  <a:gd name="connsiteX11" fmla="*/ 28591 w 61819"/>
                  <a:gd name="connsiteY11" fmla="*/ 126403 h 127041"/>
                  <a:gd name="connsiteX12" fmla="*/ 31147 w 61819"/>
                  <a:gd name="connsiteY12" fmla="*/ 127041 h 127041"/>
                  <a:gd name="connsiteX13" fmla="*/ 33703 w 61819"/>
                  <a:gd name="connsiteY13" fmla="*/ 126403 h 127041"/>
                  <a:gd name="connsiteX14" fmla="*/ 35620 w 61819"/>
                  <a:gd name="connsiteY14" fmla="*/ 125126 h 127041"/>
                  <a:gd name="connsiteX15" fmla="*/ 59902 w 61819"/>
                  <a:gd name="connsiteY15" fmla="*/ 100867 h 127041"/>
                  <a:gd name="connsiteX16" fmla="*/ 59902 w 61819"/>
                  <a:gd name="connsiteY16" fmla="*/ 91930 h 127041"/>
                  <a:gd name="connsiteX17" fmla="*/ 50956 w 61819"/>
                  <a:gd name="connsiteY17" fmla="*/ 91930 h 127041"/>
                  <a:gd name="connsiteX18" fmla="*/ 50956 w 61819"/>
                  <a:gd name="connsiteY18" fmla="*/ 91930 h 127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819" h="127041">
                    <a:moveTo>
                      <a:pt x="50956" y="91930"/>
                    </a:moveTo>
                    <a:lnTo>
                      <a:pt x="37537" y="105336"/>
                    </a:lnTo>
                    <a:lnTo>
                      <a:pt x="37537" y="6384"/>
                    </a:lnTo>
                    <a:cubicBezTo>
                      <a:pt x="37537" y="2554"/>
                      <a:pt x="34981" y="0"/>
                      <a:pt x="31147" y="0"/>
                    </a:cubicBezTo>
                    <a:cubicBezTo>
                      <a:pt x="27313" y="0"/>
                      <a:pt x="24757" y="2554"/>
                      <a:pt x="24757" y="6384"/>
                    </a:cubicBezTo>
                    <a:lnTo>
                      <a:pt x="24757" y="105336"/>
                    </a:lnTo>
                    <a:lnTo>
                      <a:pt x="11339" y="91930"/>
                    </a:lnTo>
                    <a:cubicBezTo>
                      <a:pt x="9422" y="89376"/>
                      <a:pt x="4949" y="88738"/>
                      <a:pt x="2393" y="90653"/>
                    </a:cubicBezTo>
                    <a:cubicBezTo>
                      <a:pt x="-163" y="92568"/>
                      <a:pt x="-802" y="97037"/>
                      <a:pt x="1115" y="99590"/>
                    </a:cubicBezTo>
                    <a:cubicBezTo>
                      <a:pt x="1754" y="100229"/>
                      <a:pt x="1754" y="100867"/>
                      <a:pt x="2393" y="100867"/>
                    </a:cubicBezTo>
                    <a:lnTo>
                      <a:pt x="26674" y="125126"/>
                    </a:lnTo>
                    <a:cubicBezTo>
                      <a:pt x="27313" y="125765"/>
                      <a:pt x="27952" y="126403"/>
                      <a:pt x="28591" y="126403"/>
                    </a:cubicBezTo>
                    <a:cubicBezTo>
                      <a:pt x="29230" y="126403"/>
                      <a:pt x="29869" y="127041"/>
                      <a:pt x="31147" y="127041"/>
                    </a:cubicBezTo>
                    <a:cubicBezTo>
                      <a:pt x="31786" y="127041"/>
                      <a:pt x="33064" y="127041"/>
                      <a:pt x="33703" y="126403"/>
                    </a:cubicBezTo>
                    <a:cubicBezTo>
                      <a:pt x="34342" y="125765"/>
                      <a:pt x="34981" y="125765"/>
                      <a:pt x="35620" y="125126"/>
                    </a:cubicBezTo>
                    <a:lnTo>
                      <a:pt x="59902" y="100867"/>
                    </a:lnTo>
                    <a:cubicBezTo>
                      <a:pt x="62458" y="98313"/>
                      <a:pt x="62458" y="94483"/>
                      <a:pt x="59902" y="91930"/>
                    </a:cubicBezTo>
                    <a:cubicBezTo>
                      <a:pt x="57985" y="89376"/>
                      <a:pt x="54151" y="89376"/>
                      <a:pt x="50956" y="91930"/>
                    </a:cubicBezTo>
                    <a:lnTo>
                      <a:pt x="50956" y="91930"/>
                    </a:lnTo>
                    <a:close/>
                  </a:path>
                </a:pathLst>
              </a:custGeom>
              <a:grpFill/>
              <a:ln w="6390"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C3FFBC88-BBE2-EBCF-F8DC-BA5A3BE45C29}"/>
                  </a:ext>
                </a:extLst>
              </p:cNvPr>
              <p:cNvSpPr/>
              <p:nvPr/>
            </p:nvSpPr>
            <p:spPr>
              <a:xfrm>
                <a:off x="527808" y="4385319"/>
                <a:ext cx="239640" cy="143001"/>
              </a:xfrm>
              <a:custGeom>
                <a:avLst/>
                <a:gdLst>
                  <a:gd name="connsiteX0" fmla="*/ 202561 w 239640"/>
                  <a:gd name="connsiteY0" fmla="*/ 65117 h 143001"/>
                  <a:gd name="connsiteX1" fmla="*/ 197449 w 239640"/>
                  <a:gd name="connsiteY1" fmla="*/ 65117 h 143001"/>
                  <a:gd name="connsiteX2" fmla="*/ 197449 w 239640"/>
                  <a:gd name="connsiteY2" fmla="*/ 63840 h 143001"/>
                  <a:gd name="connsiteX3" fmla="*/ 133550 w 239640"/>
                  <a:gd name="connsiteY3" fmla="*/ 0 h 143001"/>
                  <a:gd name="connsiteX4" fmla="*/ 71567 w 239640"/>
                  <a:gd name="connsiteY4" fmla="*/ 42773 h 143001"/>
                  <a:gd name="connsiteX5" fmla="*/ 52398 w 239640"/>
                  <a:gd name="connsiteY5" fmla="*/ 38304 h 143001"/>
                  <a:gd name="connsiteX6" fmla="*/ 0 w 239640"/>
                  <a:gd name="connsiteY6" fmla="*/ 90653 h 143001"/>
                  <a:gd name="connsiteX7" fmla="*/ 52398 w 239640"/>
                  <a:gd name="connsiteY7" fmla="*/ 143001 h 143001"/>
                  <a:gd name="connsiteX8" fmla="*/ 52398 w 239640"/>
                  <a:gd name="connsiteY8" fmla="*/ 143001 h 143001"/>
                  <a:gd name="connsiteX9" fmla="*/ 79874 w 239640"/>
                  <a:gd name="connsiteY9" fmla="*/ 143001 h 143001"/>
                  <a:gd name="connsiteX10" fmla="*/ 86264 w 239640"/>
                  <a:gd name="connsiteY10" fmla="*/ 136617 h 143001"/>
                  <a:gd name="connsiteX11" fmla="*/ 79874 w 239640"/>
                  <a:gd name="connsiteY11" fmla="*/ 130233 h 143001"/>
                  <a:gd name="connsiteX12" fmla="*/ 52398 w 239640"/>
                  <a:gd name="connsiteY12" fmla="*/ 130233 h 143001"/>
                  <a:gd name="connsiteX13" fmla="*/ 12780 w 239640"/>
                  <a:gd name="connsiteY13" fmla="*/ 90653 h 143001"/>
                  <a:gd name="connsiteX14" fmla="*/ 52398 w 239640"/>
                  <a:gd name="connsiteY14" fmla="*/ 51072 h 143001"/>
                  <a:gd name="connsiteX15" fmla="*/ 72206 w 239640"/>
                  <a:gd name="connsiteY15" fmla="*/ 57456 h 143001"/>
                  <a:gd name="connsiteX16" fmla="*/ 73484 w 239640"/>
                  <a:gd name="connsiteY16" fmla="*/ 58094 h 143001"/>
                  <a:gd name="connsiteX17" fmla="*/ 74123 w 239640"/>
                  <a:gd name="connsiteY17" fmla="*/ 58094 h 143001"/>
                  <a:gd name="connsiteX18" fmla="*/ 74123 w 239640"/>
                  <a:gd name="connsiteY18" fmla="*/ 58094 h 143001"/>
                  <a:gd name="connsiteX19" fmla="*/ 79235 w 239640"/>
                  <a:gd name="connsiteY19" fmla="*/ 56818 h 143001"/>
                  <a:gd name="connsiteX20" fmla="*/ 80513 w 239640"/>
                  <a:gd name="connsiteY20" fmla="*/ 55541 h 143001"/>
                  <a:gd name="connsiteX21" fmla="*/ 80513 w 239640"/>
                  <a:gd name="connsiteY21" fmla="*/ 55541 h 143001"/>
                  <a:gd name="connsiteX22" fmla="*/ 81152 w 239640"/>
                  <a:gd name="connsiteY22" fmla="*/ 54264 h 143001"/>
                  <a:gd name="connsiteX23" fmla="*/ 81791 w 239640"/>
                  <a:gd name="connsiteY23" fmla="*/ 53626 h 143001"/>
                  <a:gd name="connsiteX24" fmla="*/ 81791 w 239640"/>
                  <a:gd name="connsiteY24" fmla="*/ 53626 h 143001"/>
                  <a:gd name="connsiteX25" fmla="*/ 132911 w 239640"/>
                  <a:gd name="connsiteY25" fmla="*/ 12768 h 143001"/>
                  <a:gd name="connsiteX26" fmla="*/ 184030 w 239640"/>
                  <a:gd name="connsiteY26" fmla="*/ 63840 h 143001"/>
                  <a:gd name="connsiteX27" fmla="*/ 183391 w 239640"/>
                  <a:gd name="connsiteY27" fmla="*/ 70224 h 143001"/>
                  <a:gd name="connsiteX28" fmla="*/ 183391 w 239640"/>
                  <a:gd name="connsiteY28" fmla="*/ 71501 h 143001"/>
                  <a:gd name="connsiteX29" fmla="*/ 185947 w 239640"/>
                  <a:gd name="connsiteY29" fmla="*/ 81077 h 143001"/>
                  <a:gd name="connsiteX30" fmla="*/ 193615 w 239640"/>
                  <a:gd name="connsiteY30" fmla="*/ 79800 h 143001"/>
                  <a:gd name="connsiteX31" fmla="*/ 195532 w 239640"/>
                  <a:gd name="connsiteY31" fmla="*/ 78523 h 143001"/>
                  <a:gd name="connsiteX32" fmla="*/ 201922 w 239640"/>
                  <a:gd name="connsiteY32" fmla="*/ 77885 h 143001"/>
                  <a:gd name="connsiteX33" fmla="*/ 226843 w 239640"/>
                  <a:gd name="connsiteY33" fmla="*/ 105336 h 143001"/>
                  <a:gd name="connsiteX34" fmla="*/ 201922 w 239640"/>
                  <a:gd name="connsiteY34" fmla="*/ 130233 h 143001"/>
                  <a:gd name="connsiteX35" fmla="*/ 161026 w 239640"/>
                  <a:gd name="connsiteY35" fmla="*/ 130233 h 143001"/>
                  <a:gd name="connsiteX36" fmla="*/ 154637 w 239640"/>
                  <a:gd name="connsiteY36" fmla="*/ 136617 h 143001"/>
                  <a:gd name="connsiteX37" fmla="*/ 161026 w 239640"/>
                  <a:gd name="connsiteY37" fmla="*/ 143001 h 143001"/>
                  <a:gd name="connsiteX38" fmla="*/ 201922 w 239640"/>
                  <a:gd name="connsiteY38" fmla="*/ 143001 h 143001"/>
                  <a:gd name="connsiteX39" fmla="*/ 239623 w 239640"/>
                  <a:gd name="connsiteY39" fmla="*/ 102144 h 143001"/>
                  <a:gd name="connsiteX40" fmla="*/ 202561 w 239640"/>
                  <a:gd name="connsiteY40" fmla="*/ 65117 h 143001"/>
                  <a:gd name="connsiteX41" fmla="*/ 202561 w 239640"/>
                  <a:gd name="connsiteY41" fmla="*/ 65117 h 14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9640" h="143001">
                    <a:moveTo>
                      <a:pt x="202561" y="65117"/>
                    </a:moveTo>
                    <a:cubicBezTo>
                      <a:pt x="200644" y="65117"/>
                      <a:pt x="199366" y="65117"/>
                      <a:pt x="197449" y="65117"/>
                    </a:cubicBezTo>
                    <a:lnTo>
                      <a:pt x="197449" y="63840"/>
                    </a:lnTo>
                    <a:cubicBezTo>
                      <a:pt x="197449" y="28728"/>
                      <a:pt x="168694" y="0"/>
                      <a:pt x="133550" y="0"/>
                    </a:cubicBezTo>
                    <a:cubicBezTo>
                      <a:pt x="106073" y="0"/>
                      <a:pt x="81152" y="17237"/>
                      <a:pt x="71567" y="42773"/>
                    </a:cubicBezTo>
                    <a:cubicBezTo>
                      <a:pt x="65816" y="39581"/>
                      <a:pt x="58787" y="38304"/>
                      <a:pt x="52398" y="38304"/>
                    </a:cubicBezTo>
                    <a:cubicBezTo>
                      <a:pt x="23643" y="38304"/>
                      <a:pt x="0" y="61925"/>
                      <a:pt x="0" y="90653"/>
                    </a:cubicBezTo>
                    <a:cubicBezTo>
                      <a:pt x="0" y="119381"/>
                      <a:pt x="23643" y="143001"/>
                      <a:pt x="52398" y="143001"/>
                    </a:cubicBezTo>
                    <a:lnTo>
                      <a:pt x="52398" y="143001"/>
                    </a:lnTo>
                    <a:lnTo>
                      <a:pt x="79874" y="143001"/>
                    </a:lnTo>
                    <a:cubicBezTo>
                      <a:pt x="83708" y="143001"/>
                      <a:pt x="86264" y="140448"/>
                      <a:pt x="86264" y="136617"/>
                    </a:cubicBezTo>
                    <a:cubicBezTo>
                      <a:pt x="86264" y="132787"/>
                      <a:pt x="83708" y="130233"/>
                      <a:pt x="79874" y="130233"/>
                    </a:cubicBezTo>
                    <a:lnTo>
                      <a:pt x="52398" y="130233"/>
                    </a:lnTo>
                    <a:cubicBezTo>
                      <a:pt x="30672" y="130233"/>
                      <a:pt x="12780" y="112358"/>
                      <a:pt x="12780" y="90653"/>
                    </a:cubicBezTo>
                    <a:cubicBezTo>
                      <a:pt x="12780" y="68947"/>
                      <a:pt x="30672" y="51072"/>
                      <a:pt x="52398" y="51072"/>
                    </a:cubicBezTo>
                    <a:cubicBezTo>
                      <a:pt x="59426" y="51072"/>
                      <a:pt x="66455" y="52987"/>
                      <a:pt x="72206" y="57456"/>
                    </a:cubicBezTo>
                    <a:cubicBezTo>
                      <a:pt x="72845" y="57456"/>
                      <a:pt x="72845" y="58094"/>
                      <a:pt x="73484" y="58094"/>
                    </a:cubicBezTo>
                    <a:lnTo>
                      <a:pt x="74123" y="58094"/>
                    </a:lnTo>
                    <a:lnTo>
                      <a:pt x="74123" y="58094"/>
                    </a:lnTo>
                    <a:cubicBezTo>
                      <a:pt x="76040" y="58733"/>
                      <a:pt x="77957" y="58094"/>
                      <a:pt x="79235" y="56818"/>
                    </a:cubicBezTo>
                    <a:cubicBezTo>
                      <a:pt x="79874" y="56179"/>
                      <a:pt x="80513" y="56179"/>
                      <a:pt x="80513" y="55541"/>
                    </a:cubicBezTo>
                    <a:lnTo>
                      <a:pt x="80513" y="55541"/>
                    </a:lnTo>
                    <a:cubicBezTo>
                      <a:pt x="80513" y="54902"/>
                      <a:pt x="81152" y="54902"/>
                      <a:pt x="81152" y="54264"/>
                    </a:cubicBezTo>
                    <a:cubicBezTo>
                      <a:pt x="81152" y="54264"/>
                      <a:pt x="81152" y="53626"/>
                      <a:pt x="81791" y="53626"/>
                    </a:cubicBezTo>
                    <a:lnTo>
                      <a:pt x="81791" y="53626"/>
                    </a:lnTo>
                    <a:cubicBezTo>
                      <a:pt x="87542" y="30005"/>
                      <a:pt x="108629" y="12768"/>
                      <a:pt x="132911" y="12768"/>
                    </a:cubicBezTo>
                    <a:cubicBezTo>
                      <a:pt x="161026" y="12768"/>
                      <a:pt x="184030" y="35751"/>
                      <a:pt x="184030" y="63840"/>
                    </a:cubicBezTo>
                    <a:cubicBezTo>
                      <a:pt x="184030" y="65755"/>
                      <a:pt x="184030" y="68309"/>
                      <a:pt x="183391" y="70224"/>
                    </a:cubicBezTo>
                    <a:cubicBezTo>
                      <a:pt x="183391" y="70224"/>
                      <a:pt x="183391" y="70862"/>
                      <a:pt x="183391" y="71501"/>
                    </a:cubicBezTo>
                    <a:cubicBezTo>
                      <a:pt x="182113" y="74693"/>
                      <a:pt x="182752" y="78523"/>
                      <a:pt x="185947" y="81077"/>
                    </a:cubicBezTo>
                    <a:cubicBezTo>
                      <a:pt x="188503" y="82354"/>
                      <a:pt x="191698" y="82354"/>
                      <a:pt x="193615" y="79800"/>
                    </a:cubicBezTo>
                    <a:cubicBezTo>
                      <a:pt x="194254" y="79162"/>
                      <a:pt x="194893" y="79162"/>
                      <a:pt x="195532" y="78523"/>
                    </a:cubicBezTo>
                    <a:cubicBezTo>
                      <a:pt x="197449" y="77885"/>
                      <a:pt x="200005" y="77885"/>
                      <a:pt x="201922" y="77885"/>
                    </a:cubicBezTo>
                    <a:cubicBezTo>
                      <a:pt x="216619" y="78523"/>
                      <a:pt x="227482" y="90653"/>
                      <a:pt x="226843" y="105336"/>
                    </a:cubicBezTo>
                    <a:cubicBezTo>
                      <a:pt x="226204" y="118742"/>
                      <a:pt x="215341" y="129595"/>
                      <a:pt x="201922" y="130233"/>
                    </a:cubicBezTo>
                    <a:lnTo>
                      <a:pt x="161026" y="130233"/>
                    </a:lnTo>
                    <a:cubicBezTo>
                      <a:pt x="157192" y="130233"/>
                      <a:pt x="154637" y="132787"/>
                      <a:pt x="154637" y="136617"/>
                    </a:cubicBezTo>
                    <a:cubicBezTo>
                      <a:pt x="154637" y="140448"/>
                      <a:pt x="157192" y="143001"/>
                      <a:pt x="161026" y="143001"/>
                    </a:cubicBezTo>
                    <a:lnTo>
                      <a:pt x="201922" y="143001"/>
                    </a:lnTo>
                    <a:cubicBezTo>
                      <a:pt x="223648" y="142363"/>
                      <a:pt x="240262" y="123849"/>
                      <a:pt x="239623" y="102144"/>
                    </a:cubicBezTo>
                    <a:cubicBezTo>
                      <a:pt x="238984" y="81715"/>
                      <a:pt x="222370" y="65117"/>
                      <a:pt x="202561" y="65117"/>
                    </a:cubicBezTo>
                    <a:lnTo>
                      <a:pt x="202561" y="65117"/>
                    </a:lnTo>
                    <a:close/>
                  </a:path>
                </a:pathLst>
              </a:custGeom>
              <a:grpFill/>
              <a:ln w="6390" cap="flat">
                <a:noFill/>
                <a:prstDash val="solid"/>
                <a:miter/>
              </a:ln>
            </p:spPr>
            <p:txBody>
              <a:bodyPr rtlCol="0" anchor="ctr"/>
              <a:lstStyle/>
              <a:p>
                <a:endParaRPr lang="en-US"/>
              </a:p>
            </p:txBody>
          </p:sp>
        </p:grpSp>
      </p:grpSp>
      <p:grpSp>
        <p:nvGrpSpPr>
          <p:cNvPr id="72" name="Group 71">
            <a:extLst>
              <a:ext uri="{FF2B5EF4-FFF2-40B4-BE49-F238E27FC236}">
                <a16:creationId xmlns:a16="http://schemas.microsoft.com/office/drawing/2014/main" id="{7E30609E-B95F-33D6-3E5A-8BE10C1EDCC8}"/>
              </a:ext>
            </a:extLst>
          </p:cNvPr>
          <p:cNvGrpSpPr/>
          <p:nvPr/>
        </p:nvGrpSpPr>
        <p:grpSpPr>
          <a:xfrm>
            <a:off x="5180762" y="1279513"/>
            <a:ext cx="1129357" cy="696773"/>
            <a:chOff x="5180762" y="1289344"/>
            <a:chExt cx="1129357" cy="696773"/>
          </a:xfrm>
        </p:grpSpPr>
        <p:sp>
          <p:nvSpPr>
            <p:cNvPr id="52" name="TextBox 51">
              <a:extLst>
                <a:ext uri="{FF2B5EF4-FFF2-40B4-BE49-F238E27FC236}">
                  <a16:creationId xmlns:a16="http://schemas.microsoft.com/office/drawing/2014/main" id="{5F8E9CCC-7A0E-1A79-F1F6-EB908B8769F7}"/>
                </a:ext>
              </a:extLst>
            </p:cNvPr>
            <p:cNvSpPr txBox="1">
              <a:spLocks/>
            </p:cNvSpPr>
            <p:nvPr/>
          </p:nvSpPr>
          <p:spPr>
            <a:xfrm>
              <a:off x="5180762" y="1289344"/>
              <a:ext cx="1129357" cy="677108"/>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488"/>
                </a:spcBef>
                <a:spcAft>
                  <a:spcPts val="0"/>
                </a:spcAft>
                <a:buClrTx/>
                <a:buSzPct val="100000"/>
                <a:buFontTx/>
                <a:buNone/>
                <a:tabLst/>
                <a:defRPr/>
              </a:pPr>
              <a:r>
                <a:rPr kumimoji="0" lang="en-US" sz="4400" b="1" i="0" u="none" strike="noStrike" kern="0" cap="none" spc="0" normalizeH="0" baseline="0" noProof="0">
                  <a:ln>
                    <a:noFill/>
                  </a:ln>
                  <a:solidFill>
                    <a:schemeClr val="accent5"/>
                  </a:solidFill>
                  <a:effectLst/>
                  <a:uLnTx/>
                  <a:uFillTx/>
                </a:rPr>
                <a:t>01</a:t>
              </a:r>
              <a:endParaRPr kumimoji="0" lang="en-US" sz="4400" b="1" i="0" u="none" strike="noStrike" kern="0" cap="none" spc="0" normalizeH="0" baseline="0" noProof="0" dirty="0">
                <a:ln>
                  <a:noFill/>
                </a:ln>
                <a:solidFill>
                  <a:schemeClr val="accent5"/>
                </a:solidFill>
                <a:effectLst/>
                <a:uLnTx/>
                <a:uFillTx/>
              </a:endParaRPr>
            </a:p>
          </p:txBody>
        </p:sp>
        <p:sp>
          <p:nvSpPr>
            <p:cNvPr id="39" name="Chord 38">
              <a:extLst>
                <a:ext uri="{FF2B5EF4-FFF2-40B4-BE49-F238E27FC236}">
                  <a16:creationId xmlns:a16="http://schemas.microsoft.com/office/drawing/2014/main" id="{833CA65B-B838-79D6-F52A-8346E53D978D}"/>
                </a:ext>
              </a:extLst>
            </p:cNvPr>
            <p:cNvSpPr/>
            <p:nvPr/>
          </p:nvSpPr>
          <p:spPr bwMode="gray">
            <a:xfrm>
              <a:off x="5821766" y="1549735"/>
              <a:ext cx="454318" cy="436382"/>
            </a:xfrm>
            <a:prstGeom prst="chord">
              <a:avLst>
                <a:gd name="adj1" fmla="val 2700000"/>
                <a:gd name="adj2" fmla="val 18834732"/>
              </a:avLst>
            </a:prstGeom>
            <a:solidFill>
              <a:srgbClr val="0097A9">
                <a:alpha val="3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grpSp>
      <p:sp>
        <p:nvSpPr>
          <p:cNvPr id="50" name="TextBox 49">
            <a:extLst>
              <a:ext uri="{FF2B5EF4-FFF2-40B4-BE49-F238E27FC236}">
                <a16:creationId xmlns:a16="http://schemas.microsoft.com/office/drawing/2014/main" id="{398A86A4-ACA5-7EC4-8B30-55D22DF859B4}"/>
              </a:ext>
            </a:extLst>
          </p:cNvPr>
          <p:cNvSpPr txBox="1">
            <a:spLocks/>
          </p:cNvSpPr>
          <p:nvPr/>
        </p:nvSpPr>
        <p:spPr>
          <a:xfrm>
            <a:off x="6410424" y="1190279"/>
            <a:ext cx="5311675" cy="875240"/>
          </a:xfrm>
          <a:prstGeom prst="rect">
            <a:avLst/>
          </a:prstGeom>
          <a:solidFill>
            <a:schemeClr val="bg1"/>
          </a:solidFill>
          <a:effectLst/>
        </p:spPr>
        <p:txBody>
          <a:bodyPr wrap="square" lIns="9144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rPr>
              <a:t>When and how the Cloud </a:t>
            </a:r>
            <a:br>
              <a:rPr kumimoji="0" lang="en-US" sz="2000" b="1" i="0" u="none" strike="noStrike" kern="0" cap="none" spc="0" normalizeH="0" baseline="0" noProof="0" dirty="0">
                <a:ln>
                  <a:noFill/>
                </a:ln>
                <a:effectLst/>
                <a:uLnTx/>
                <a:uFillTx/>
              </a:rPr>
            </a:br>
            <a:r>
              <a:rPr kumimoji="0" lang="en-US" sz="2000" b="1" i="0" u="none" strike="noStrike" kern="0" cap="none" spc="0" normalizeH="0" baseline="0" noProof="0" dirty="0">
                <a:ln>
                  <a:noFill/>
                </a:ln>
                <a:effectLst/>
                <a:uLnTx/>
                <a:uFillTx/>
              </a:rPr>
              <a:t>journey started</a:t>
            </a:r>
            <a:endParaRPr kumimoji="0" lang="en-GB" sz="2000" b="0" i="0" u="none" strike="noStrike" kern="0" cap="none" spc="0" normalizeH="0" baseline="0" noProof="0" dirty="0">
              <a:ln>
                <a:noFill/>
              </a:ln>
              <a:effectLst/>
              <a:uLnTx/>
              <a:uFillTx/>
            </a:endParaRPr>
          </a:p>
        </p:txBody>
      </p:sp>
      <p:grpSp>
        <p:nvGrpSpPr>
          <p:cNvPr id="93" name="Group 92">
            <a:extLst>
              <a:ext uri="{FF2B5EF4-FFF2-40B4-BE49-F238E27FC236}">
                <a16:creationId xmlns:a16="http://schemas.microsoft.com/office/drawing/2014/main" id="{A5F1BE2F-AA37-4614-4D5E-5EE07B62B96A}"/>
              </a:ext>
            </a:extLst>
          </p:cNvPr>
          <p:cNvGrpSpPr/>
          <p:nvPr/>
        </p:nvGrpSpPr>
        <p:grpSpPr>
          <a:xfrm>
            <a:off x="10792639" y="1325829"/>
            <a:ext cx="604704" cy="604140"/>
            <a:chOff x="10792639" y="1325829"/>
            <a:chExt cx="604704" cy="604140"/>
          </a:xfrm>
        </p:grpSpPr>
        <p:sp>
          <p:nvSpPr>
            <p:cNvPr id="31" name="Graphic 4">
              <a:extLst>
                <a:ext uri="{FF2B5EF4-FFF2-40B4-BE49-F238E27FC236}">
                  <a16:creationId xmlns:a16="http://schemas.microsoft.com/office/drawing/2014/main" id="{381BBE66-61D9-A142-0944-C98ABE400BC0}"/>
                </a:ext>
              </a:extLst>
            </p:cNvPr>
            <p:cNvSpPr/>
            <p:nvPr/>
          </p:nvSpPr>
          <p:spPr>
            <a:xfrm>
              <a:off x="10792639" y="1325829"/>
              <a:ext cx="604704" cy="604140"/>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737"/>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rgbClr val="0097A9"/>
            </a:solidFill>
            <a:ln w="6390" cap="flat">
              <a:noFill/>
              <a:prstDash val="solid"/>
              <a:miter/>
            </a:ln>
          </p:spPr>
          <p:txBody>
            <a:bodyPr rtlCol="0" anchor="ctr"/>
            <a:lstStyle/>
            <a:p>
              <a:endParaRPr lang="en-US"/>
            </a:p>
          </p:txBody>
        </p:sp>
        <p:grpSp>
          <p:nvGrpSpPr>
            <p:cNvPr id="34" name="Group 33">
              <a:extLst>
                <a:ext uri="{FF2B5EF4-FFF2-40B4-BE49-F238E27FC236}">
                  <a16:creationId xmlns:a16="http://schemas.microsoft.com/office/drawing/2014/main" id="{540DA517-4955-11DF-9F92-F8AB29E08EB0}"/>
                </a:ext>
              </a:extLst>
            </p:cNvPr>
            <p:cNvGrpSpPr/>
            <p:nvPr/>
          </p:nvGrpSpPr>
          <p:grpSpPr>
            <a:xfrm>
              <a:off x="10888625" y="1451559"/>
              <a:ext cx="412762" cy="354078"/>
              <a:chOff x="10929180" y="1377053"/>
              <a:chExt cx="587159" cy="503680"/>
            </a:xfrm>
            <a:solidFill>
              <a:srgbClr val="0097A9"/>
            </a:solidFill>
          </p:grpSpPr>
          <p:sp>
            <p:nvSpPr>
              <p:cNvPr id="32" name="Graphic 4">
                <a:extLst>
                  <a:ext uri="{FF2B5EF4-FFF2-40B4-BE49-F238E27FC236}">
                    <a16:creationId xmlns:a16="http://schemas.microsoft.com/office/drawing/2014/main" id="{46C6B6F1-E6CE-66C8-1D0D-200DFDFC76A2}"/>
                  </a:ext>
                </a:extLst>
              </p:cNvPr>
              <p:cNvSpPr/>
              <p:nvPr/>
            </p:nvSpPr>
            <p:spPr>
              <a:xfrm>
                <a:off x="10971659" y="1655940"/>
                <a:ext cx="103162" cy="103067"/>
              </a:xfrm>
              <a:custGeom>
                <a:avLst/>
                <a:gdLst>
                  <a:gd name="connsiteX0" fmla="*/ 43451 w 43451"/>
                  <a:gd name="connsiteY0" fmla="*/ 21706 h 43411"/>
                  <a:gd name="connsiteX1" fmla="*/ 21726 w 43451"/>
                  <a:gd name="connsiteY1" fmla="*/ 0 h 43411"/>
                  <a:gd name="connsiteX2" fmla="*/ 0 w 43451"/>
                  <a:gd name="connsiteY2" fmla="*/ 21706 h 43411"/>
                  <a:gd name="connsiteX3" fmla="*/ 21726 w 43451"/>
                  <a:gd name="connsiteY3" fmla="*/ 43411 h 43411"/>
                  <a:gd name="connsiteX4" fmla="*/ 21726 w 43451"/>
                  <a:gd name="connsiteY4" fmla="*/ 43411 h 43411"/>
                  <a:gd name="connsiteX5" fmla="*/ 43451 w 43451"/>
                  <a:gd name="connsiteY5" fmla="*/ 21706 h 43411"/>
                  <a:gd name="connsiteX6" fmla="*/ 12780 w 43451"/>
                  <a:gd name="connsiteY6" fmla="*/ 21706 h 43411"/>
                  <a:gd name="connsiteX7" fmla="*/ 21726 w 43451"/>
                  <a:gd name="connsiteY7" fmla="*/ 12768 h 43411"/>
                  <a:gd name="connsiteX8" fmla="*/ 30672 w 43451"/>
                  <a:gd name="connsiteY8" fmla="*/ 21706 h 43411"/>
                  <a:gd name="connsiteX9" fmla="*/ 21726 w 43451"/>
                  <a:gd name="connsiteY9" fmla="*/ 30643 h 43411"/>
                  <a:gd name="connsiteX10" fmla="*/ 21726 w 43451"/>
                  <a:gd name="connsiteY10" fmla="*/ 30643 h 43411"/>
                  <a:gd name="connsiteX11" fmla="*/ 12780 w 43451"/>
                  <a:gd name="connsiteY11" fmla="*/ 21706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451" h="43411">
                    <a:moveTo>
                      <a:pt x="43451" y="21706"/>
                    </a:moveTo>
                    <a:cubicBezTo>
                      <a:pt x="43451" y="9576"/>
                      <a:pt x="33867" y="0"/>
                      <a:pt x="21726" y="0"/>
                    </a:cubicBezTo>
                    <a:cubicBezTo>
                      <a:pt x="9585" y="0"/>
                      <a:pt x="0" y="9576"/>
                      <a:pt x="0" y="21706"/>
                    </a:cubicBezTo>
                    <a:cubicBezTo>
                      <a:pt x="0" y="33835"/>
                      <a:pt x="9585" y="43411"/>
                      <a:pt x="21726" y="43411"/>
                    </a:cubicBezTo>
                    <a:cubicBezTo>
                      <a:pt x="21726" y="43411"/>
                      <a:pt x="21726" y="43411"/>
                      <a:pt x="21726" y="43411"/>
                    </a:cubicBezTo>
                    <a:cubicBezTo>
                      <a:pt x="33867" y="43411"/>
                      <a:pt x="43451" y="33197"/>
                      <a:pt x="43451" y="21706"/>
                    </a:cubicBezTo>
                    <a:close/>
                    <a:moveTo>
                      <a:pt x="12780" y="21706"/>
                    </a:moveTo>
                    <a:cubicBezTo>
                      <a:pt x="12780" y="16598"/>
                      <a:pt x="16614" y="12768"/>
                      <a:pt x="21726" y="12768"/>
                    </a:cubicBezTo>
                    <a:cubicBezTo>
                      <a:pt x="26838" y="12768"/>
                      <a:pt x="30672" y="16598"/>
                      <a:pt x="30672" y="21706"/>
                    </a:cubicBezTo>
                    <a:cubicBezTo>
                      <a:pt x="30672" y="26813"/>
                      <a:pt x="26838" y="30643"/>
                      <a:pt x="21726" y="30643"/>
                    </a:cubicBezTo>
                    <a:cubicBezTo>
                      <a:pt x="21726" y="30643"/>
                      <a:pt x="21726" y="30643"/>
                      <a:pt x="21726" y="30643"/>
                    </a:cubicBezTo>
                    <a:cubicBezTo>
                      <a:pt x="16614" y="30643"/>
                      <a:pt x="12780" y="26174"/>
                      <a:pt x="12780" y="21706"/>
                    </a:cubicBezTo>
                    <a:close/>
                  </a:path>
                </a:pathLst>
              </a:custGeom>
              <a:grpFill/>
              <a:ln w="6390"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36E6467C-321C-5C53-5A0E-402B8B48933D}"/>
                  </a:ext>
                </a:extLst>
              </p:cNvPr>
              <p:cNvSpPr/>
              <p:nvPr/>
            </p:nvSpPr>
            <p:spPr>
              <a:xfrm>
                <a:off x="10929180" y="1377053"/>
                <a:ext cx="587159" cy="503680"/>
              </a:xfrm>
              <a:custGeom>
                <a:avLst/>
                <a:gdLst>
                  <a:gd name="connsiteX0" fmla="*/ 207673 w 247307"/>
                  <a:gd name="connsiteY0" fmla="*/ 0 h 212146"/>
                  <a:gd name="connsiteX1" fmla="*/ 168055 w 247307"/>
                  <a:gd name="connsiteY1" fmla="*/ 40219 h 212146"/>
                  <a:gd name="connsiteX2" fmla="*/ 196171 w 247307"/>
                  <a:gd name="connsiteY2" fmla="*/ 100228 h 212146"/>
                  <a:gd name="connsiteX3" fmla="*/ 129716 w 247307"/>
                  <a:gd name="connsiteY3" fmla="*/ 100228 h 212146"/>
                  <a:gd name="connsiteX4" fmla="*/ 100961 w 247307"/>
                  <a:gd name="connsiteY4" fmla="*/ 132148 h 212146"/>
                  <a:gd name="connsiteX5" fmla="*/ 129716 w 247307"/>
                  <a:gd name="connsiteY5" fmla="*/ 160876 h 212146"/>
                  <a:gd name="connsiteX6" fmla="*/ 173806 w 247307"/>
                  <a:gd name="connsiteY6" fmla="*/ 160876 h 212146"/>
                  <a:gd name="connsiteX7" fmla="*/ 195532 w 247307"/>
                  <a:gd name="connsiteY7" fmla="*/ 176836 h 212146"/>
                  <a:gd name="connsiteX8" fmla="*/ 179557 w 247307"/>
                  <a:gd name="connsiteY8" fmla="*/ 198542 h 212146"/>
                  <a:gd name="connsiteX9" fmla="*/ 173806 w 247307"/>
                  <a:gd name="connsiteY9" fmla="*/ 198542 h 212146"/>
                  <a:gd name="connsiteX10" fmla="*/ 51119 w 247307"/>
                  <a:gd name="connsiteY10" fmla="*/ 198542 h 212146"/>
                  <a:gd name="connsiteX11" fmla="*/ 79874 w 247307"/>
                  <a:gd name="connsiteY11" fmla="*/ 138532 h 212146"/>
                  <a:gd name="connsiteX12" fmla="*/ 38340 w 247307"/>
                  <a:gd name="connsiteY12" fmla="*/ 100228 h 212146"/>
                  <a:gd name="connsiteX13" fmla="*/ 0 w 247307"/>
                  <a:gd name="connsiteY13" fmla="*/ 138532 h 212146"/>
                  <a:gd name="connsiteX14" fmla="*/ 34506 w 247307"/>
                  <a:gd name="connsiteY14" fmla="*/ 208118 h 212146"/>
                  <a:gd name="connsiteX15" fmla="*/ 37701 w 247307"/>
                  <a:gd name="connsiteY15" fmla="*/ 210671 h 212146"/>
                  <a:gd name="connsiteX16" fmla="*/ 41535 w 247307"/>
                  <a:gd name="connsiteY16" fmla="*/ 211948 h 212146"/>
                  <a:gd name="connsiteX17" fmla="*/ 173806 w 247307"/>
                  <a:gd name="connsiteY17" fmla="*/ 211948 h 212146"/>
                  <a:gd name="connsiteX18" fmla="*/ 209590 w 247307"/>
                  <a:gd name="connsiteY18" fmla="*/ 183859 h 212146"/>
                  <a:gd name="connsiteX19" fmla="*/ 181474 w 247307"/>
                  <a:gd name="connsiteY19" fmla="*/ 148108 h 212146"/>
                  <a:gd name="connsiteX20" fmla="*/ 173806 w 247307"/>
                  <a:gd name="connsiteY20" fmla="*/ 148108 h 212146"/>
                  <a:gd name="connsiteX21" fmla="*/ 129716 w 247307"/>
                  <a:gd name="connsiteY21" fmla="*/ 148108 h 212146"/>
                  <a:gd name="connsiteX22" fmla="*/ 113102 w 247307"/>
                  <a:gd name="connsiteY22" fmla="*/ 129595 h 212146"/>
                  <a:gd name="connsiteX23" fmla="*/ 129716 w 247307"/>
                  <a:gd name="connsiteY23" fmla="*/ 112996 h 212146"/>
                  <a:gd name="connsiteX24" fmla="*/ 206395 w 247307"/>
                  <a:gd name="connsiteY24" fmla="*/ 112996 h 212146"/>
                  <a:gd name="connsiteX25" fmla="*/ 209590 w 247307"/>
                  <a:gd name="connsiteY25" fmla="*/ 111720 h 212146"/>
                  <a:gd name="connsiteX26" fmla="*/ 212785 w 247307"/>
                  <a:gd name="connsiteY26" fmla="*/ 109166 h 212146"/>
                  <a:gd name="connsiteX27" fmla="*/ 247290 w 247307"/>
                  <a:gd name="connsiteY27" fmla="*/ 39581 h 212146"/>
                  <a:gd name="connsiteX28" fmla="*/ 207673 w 247307"/>
                  <a:gd name="connsiteY28" fmla="*/ 0 h 212146"/>
                  <a:gd name="connsiteX29" fmla="*/ 207673 w 247307"/>
                  <a:gd name="connsiteY29" fmla="*/ 0 h 212146"/>
                  <a:gd name="connsiteX30" fmla="*/ 12780 w 247307"/>
                  <a:gd name="connsiteY30" fmla="*/ 137894 h 212146"/>
                  <a:gd name="connsiteX31" fmla="*/ 41535 w 247307"/>
                  <a:gd name="connsiteY31" fmla="*/ 112358 h 212146"/>
                  <a:gd name="connsiteX32" fmla="*/ 67094 w 247307"/>
                  <a:gd name="connsiteY32" fmla="*/ 137894 h 212146"/>
                  <a:gd name="connsiteX33" fmla="*/ 40257 w 247307"/>
                  <a:gd name="connsiteY33" fmla="*/ 192158 h 212146"/>
                  <a:gd name="connsiteX34" fmla="*/ 12780 w 247307"/>
                  <a:gd name="connsiteY34" fmla="*/ 137894 h 212146"/>
                  <a:gd name="connsiteX35" fmla="*/ 12780 w 247307"/>
                  <a:gd name="connsiteY35" fmla="*/ 137894 h 212146"/>
                  <a:gd name="connsiteX36" fmla="*/ 207673 w 247307"/>
                  <a:gd name="connsiteY36" fmla="*/ 94483 h 212146"/>
                  <a:gd name="connsiteX37" fmla="*/ 180835 w 247307"/>
                  <a:gd name="connsiteY37" fmla="*/ 40219 h 212146"/>
                  <a:gd name="connsiteX38" fmla="*/ 209590 w 247307"/>
                  <a:gd name="connsiteY38" fmla="*/ 14683 h 212146"/>
                  <a:gd name="connsiteX39" fmla="*/ 235150 w 247307"/>
                  <a:gd name="connsiteY39" fmla="*/ 40219 h 212146"/>
                  <a:gd name="connsiteX40" fmla="*/ 207673 w 247307"/>
                  <a:gd name="connsiteY40" fmla="*/ 94483 h 212146"/>
                  <a:gd name="connsiteX41" fmla="*/ 207673 w 247307"/>
                  <a:gd name="connsiteY41" fmla="*/ 94483 h 21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47307" h="212146">
                    <a:moveTo>
                      <a:pt x="207673" y="0"/>
                    </a:moveTo>
                    <a:cubicBezTo>
                      <a:pt x="185947" y="0"/>
                      <a:pt x="168055" y="17875"/>
                      <a:pt x="168055" y="40219"/>
                    </a:cubicBezTo>
                    <a:cubicBezTo>
                      <a:pt x="168055" y="55541"/>
                      <a:pt x="185947" y="84907"/>
                      <a:pt x="196171" y="100228"/>
                    </a:cubicBezTo>
                    <a:lnTo>
                      <a:pt x="129716" y="100228"/>
                    </a:lnTo>
                    <a:cubicBezTo>
                      <a:pt x="113102" y="100867"/>
                      <a:pt x="100322" y="114912"/>
                      <a:pt x="100961" y="132148"/>
                    </a:cubicBezTo>
                    <a:cubicBezTo>
                      <a:pt x="101600" y="147470"/>
                      <a:pt x="114380" y="160238"/>
                      <a:pt x="129716" y="160876"/>
                    </a:cubicBezTo>
                    <a:lnTo>
                      <a:pt x="173806" y="160876"/>
                    </a:lnTo>
                    <a:cubicBezTo>
                      <a:pt x="184030" y="158961"/>
                      <a:pt x="194254" y="166622"/>
                      <a:pt x="195532" y="176836"/>
                    </a:cubicBezTo>
                    <a:cubicBezTo>
                      <a:pt x="197449" y="187051"/>
                      <a:pt x="189781" y="197265"/>
                      <a:pt x="179557" y="198542"/>
                    </a:cubicBezTo>
                    <a:cubicBezTo>
                      <a:pt x="177640" y="198542"/>
                      <a:pt x="175723" y="198542"/>
                      <a:pt x="173806" y="198542"/>
                    </a:cubicBezTo>
                    <a:lnTo>
                      <a:pt x="51119" y="198542"/>
                    </a:lnTo>
                    <a:cubicBezTo>
                      <a:pt x="61343" y="183220"/>
                      <a:pt x="79874" y="153854"/>
                      <a:pt x="79874" y="138532"/>
                    </a:cubicBezTo>
                    <a:cubicBezTo>
                      <a:pt x="79235" y="116827"/>
                      <a:pt x="60704" y="99590"/>
                      <a:pt x="38340" y="100228"/>
                    </a:cubicBezTo>
                    <a:cubicBezTo>
                      <a:pt x="17253" y="100867"/>
                      <a:pt x="639" y="117465"/>
                      <a:pt x="0" y="138532"/>
                    </a:cubicBezTo>
                    <a:cubicBezTo>
                      <a:pt x="0" y="158323"/>
                      <a:pt x="31311" y="203011"/>
                      <a:pt x="34506" y="208118"/>
                    </a:cubicBezTo>
                    <a:cubicBezTo>
                      <a:pt x="35145" y="209395"/>
                      <a:pt x="36423" y="210033"/>
                      <a:pt x="37701" y="210671"/>
                    </a:cubicBezTo>
                    <a:cubicBezTo>
                      <a:pt x="38978" y="211310"/>
                      <a:pt x="40257" y="211948"/>
                      <a:pt x="41535" y="211948"/>
                    </a:cubicBezTo>
                    <a:lnTo>
                      <a:pt x="173806" y="211948"/>
                    </a:lnTo>
                    <a:cubicBezTo>
                      <a:pt x="191059" y="213863"/>
                      <a:pt x="207034" y="201734"/>
                      <a:pt x="209590" y="183859"/>
                    </a:cubicBezTo>
                    <a:cubicBezTo>
                      <a:pt x="212146" y="165984"/>
                      <a:pt x="199366" y="150662"/>
                      <a:pt x="181474" y="148108"/>
                    </a:cubicBezTo>
                    <a:cubicBezTo>
                      <a:pt x="178918" y="148108"/>
                      <a:pt x="176362" y="148108"/>
                      <a:pt x="173806" y="148108"/>
                    </a:cubicBezTo>
                    <a:lnTo>
                      <a:pt x="129716" y="148108"/>
                    </a:lnTo>
                    <a:cubicBezTo>
                      <a:pt x="120131" y="147470"/>
                      <a:pt x="112463" y="139171"/>
                      <a:pt x="113102" y="129595"/>
                    </a:cubicBezTo>
                    <a:cubicBezTo>
                      <a:pt x="113741" y="120657"/>
                      <a:pt x="120770" y="113635"/>
                      <a:pt x="129716" y="112996"/>
                    </a:cubicBezTo>
                    <a:lnTo>
                      <a:pt x="206395" y="112996"/>
                    </a:lnTo>
                    <a:cubicBezTo>
                      <a:pt x="207673" y="112996"/>
                      <a:pt x="208951" y="112358"/>
                      <a:pt x="209590" y="111720"/>
                    </a:cubicBezTo>
                    <a:cubicBezTo>
                      <a:pt x="210868" y="111081"/>
                      <a:pt x="212146" y="110443"/>
                      <a:pt x="212785" y="109166"/>
                    </a:cubicBezTo>
                    <a:cubicBezTo>
                      <a:pt x="215980" y="104059"/>
                      <a:pt x="247290" y="60009"/>
                      <a:pt x="247290" y="39581"/>
                    </a:cubicBezTo>
                    <a:cubicBezTo>
                      <a:pt x="247929" y="17875"/>
                      <a:pt x="230038" y="0"/>
                      <a:pt x="207673" y="0"/>
                    </a:cubicBezTo>
                    <a:cubicBezTo>
                      <a:pt x="207673" y="0"/>
                      <a:pt x="207673" y="0"/>
                      <a:pt x="207673" y="0"/>
                    </a:cubicBezTo>
                    <a:close/>
                    <a:moveTo>
                      <a:pt x="12780" y="137894"/>
                    </a:moveTo>
                    <a:cubicBezTo>
                      <a:pt x="13419" y="123211"/>
                      <a:pt x="26199" y="111081"/>
                      <a:pt x="41535" y="112358"/>
                    </a:cubicBezTo>
                    <a:cubicBezTo>
                      <a:pt x="55592" y="112996"/>
                      <a:pt x="66455" y="124488"/>
                      <a:pt x="67094" y="137894"/>
                    </a:cubicBezTo>
                    <a:cubicBezTo>
                      <a:pt x="67094" y="148108"/>
                      <a:pt x="51758" y="174283"/>
                      <a:pt x="40257" y="192158"/>
                    </a:cubicBezTo>
                    <a:cubicBezTo>
                      <a:pt x="27477" y="174283"/>
                      <a:pt x="12780" y="148747"/>
                      <a:pt x="12780" y="137894"/>
                    </a:cubicBezTo>
                    <a:lnTo>
                      <a:pt x="12780" y="137894"/>
                    </a:lnTo>
                    <a:close/>
                    <a:moveTo>
                      <a:pt x="207673" y="94483"/>
                    </a:moveTo>
                    <a:cubicBezTo>
                      <a:pt x="195532" y="75969"/>
                      <a:pt x="180835" y="50433"/>
                      <a:pt x="180835" y="40219"/>
                    </a:cubicBezTo>
                    <a:cubicBezTo>
                      <a:pt x="181474" y="25536"/>
                      <a:pt x="194254" y="13406"/>
                      <a:pt x="209590" y="14683"/>
                    </a:cubicBezTo>
                    <a:cubicBezTo>
                      <a:pt x="223648" y="15322"/>
                      <a:pt x="234511" y="26813"/>
                      <a:pt x="235150" y="40219"/>
                    </a:cubicBezTo>
                    <a:cubicBezTo>
                      <a:pt x="235150" y="50433"/>
                      <a:pt x="219814" y="75969"/>
                      <a:pt x="207673" y="94483"/>
                    </a:cubicBezTo>
                    <a:lnTo>
                      <a:pt x="207673" y="94483"/>
                    </a:lnTo>
                    <a:close/>
                  </a:path>
                </a:pathLst>
              </a:custGeom>
              <a:grpFill/>
              <a:ln w="6390" cap="flat">
                <a:noFill/>
                <a:prstDash val="solid"/>
                <a:miter/>
              </a:ln>
            </p:spPr>
            <p:txBody>
              <a:bodyPr rtlCol="0" anchor="ctr"/>
              <a:lstStyle/>
              <a:p>
                <a:endParaRPr lang="en-US"/>
              </a:p>
            </p:txBody>
          </p:sp>
        </p:grpSp>
      </p:grpSp>
      <p:grpSp>
        <p:nvGrpSpPr>
          <p:cNvPr id="2" name="Group 1">
            <a:extLst>
              <a:ext uri="{FF2B5EF4-FFF2-40B4-BE49-F238E27FC236}">
                <a16:creationId xmlns:a16="http://schemas.microsoft.com/office/drawing/2014/main" id="{DCD2A6BB-383B-34B1-2F7F-9B4CCE0DF479}"/>
              </a:ext>
            </a:extLst>
          </p:cNvPr>
          <p:cNvGrpSpPr/>
          <p:nvPr/>
        </p:nvGrpSpPr>
        <p:grpSpPr>
          <a:xfrm>
            <a:off x="1" y="2669632"/>
            <a:ext cx="4249738" cy="1828800"/>
            <a:chOff x="1" y="1412875"/>
            <a:chExt cx="4249738" cy="1828800"/>
          </a:xfrm>
        </p:grpSpPr>
        <p:sp>
          <p:nvSpPr>
            <p:cNvPr id="89" name="Rectangle 12">
              <a:extLst>
                <a:ext uri="{FF2B5EF4-FFF2-40B4-BE49-F238E27FC236}">
                  <a16:creationId xmlns:a16="http://schemas.microsoft.com/office/drawing/2014/main" id="{FD4886EB-DC51-A28B-0FB1-A757831EDBC0}"/>
                </a:ext>
              </a:extLst>
            </p:cNvPr>
            <p:cNvSpPr/>
            <p:nvPr/>
          </p:nvSpPr>
          <p:spPr bwMode="gray">
            <a:xfrm>
              <a:off x="1" y="1412875"/>
              <a:ext cx="4249738" cy="1828800"/>
            </a:xfrm>
            <a:custGeom>
              <a:avLst/>
              <a:gdLst>
                <a:gd name="connsiteX0" fmla="*/ 0 w 3797301"/>
                <a:gd name="connsiteY0" fmla="*/ 0 h 1828800"/>
                <a:gd name="connsiteX1" fmla="*/ 3797301 w 3797301"/>
                <a:gd name="connsiteY1" fmla="*/ 0 h 1828800"/>
                <a:gd name="connsiteX2" fmla="*/ 3797301 w 3797301"/>
                <a:gd name="connsiteY2" fmla="*/ 1828800 h 1828800"/>
                <a:gd name="connsiteX3" fmla="*/ 0 w 3797301"/>
                <a:gd name="connsiteY3" fmla="*/ 1828800 h 1828800"/>
                <a:gd name="connsiteX4" fmla="*/ 0 w 3797301"/>
                <a:gd name="connsiteY4" fmla="*/ 0 h 1828800"/>
                <a:gd name="connsiteX0" fmla="*/ 0 w 3797301"/>
                <a:gd name="connsiteY0" fmla="*/ 0 h 1828800"/>
                <a:gd name="connsiteX1" fmla="*/ 2324101 w 3797301"/>
                <a:gd name="connsiteY1" fmla="*/ 0 h 1828800"/>
                <a:gd name="connsiteX2" fmla="*/ 3797301 w 3797301"/>
                <a:gd name="connsiteY2" fmla="*/ 1828800 h 1828800"/>
                <a:gd name="connsiteX3" fmla="*/ 0 w 3797301"/>
                <a:gd name="connsiteY3" fmla="*/ 1828800 h 1828800"/>
                <a:gd name="connsiteX4" fmla="*/ 0 w 3797301"/>
                <a:gd name="connsiteY4" fmla="*/ 0 h 182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7301" h="1828800">
                  <a:moveTo>
                    <a:pt x="0" y="0"/>
                  </a:moveTo>
                  <a:lnTo>
                    <a:pt x="2324101" y="0"/>
                  </a:lnTo>
                  <a:lnTo>
                    <a:pt x="3797301" y="1828800"/>
                  </a:lnTo>
                  <a:lnTo>
                    <a:pt x="0" y="1828800"/>
                  </a:lnTo>
                  <a:lnTo>
                    <a:pt x="0" y="0"/>
                  </a:lnTo>
                  <a:close/>
                </a:path>
              </a:pathLst>
            </a:custGeom>
            <a:solidFill>
              <a:schemeClr val="bg1">
                <a:alpha val="30196"/>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90" name="Rectangle 12">
              <a:extLst>
                <a:ext uri="{FF2B5EF4-FFF2-40B4-BE49-F238E27FC236}">
                  <a16:creationId xmlns:a16="http://schemas.microsoft.com/office/drawing/2014/main" id="{021C8259-D0F3-F70C-1A1E-0C7C5DDEC08E}"/>
                </a:ext>
              </a:extLst>
            </p:cNvPr>
            <p:cNvSpPr/>
            <p:nvPr/>
          </p:nvSpPr>
          <p:spPr bwMode="gray">
            <a:xfrm>
              <a:off x="22801" y="1543424"/>
              <a:ext cx="3613945" cy="1470867"/>
            </a:xfrm>
            <a:custGeom>
              <a:avLst/>
              <a:gdLst>
                <a:gd name="connsiteX0" fmla="*/ 0 w 3797301"/>
                <a:gd name="connsiteY0" fmla="*/ 0 h 1828800"/>
                <a:gd name="connsiteX1" fmla="*/ 3797301 w 3797301"/>
                <a:gd name="connsiteY1" fmla="*/ 0 h 1828800"/>
                <a:gd name="connsiteX2" fmla="*/ 3797301 w 3797301"/>
                <a:gd name="connsiteY2" fmla="*/ 1828800 h 1828800"/>
                <a:gd name="connsiteX3" fmla="*/ 0 w 3797301"/>
                <a:gd name="connsiteY3" fmla="*/ 1828800 h 1828800"/>
                <a:gd name="connsiteX4" fmla="*/ 0 w 3797301"/>
                <a:gd name="connsiteY4" fmla="*/ 0 h 1828800"/>
                <a:gd name="connsiteX0" fmla="*/ 0 w 3797301"/>
                <a:gd name="connsiteY0" fmla="*/ 0 h 1828800"/>
                <a:gd name="connsiteX1" fmla="*/ 2324101 w 3797301"/>
                <a:gd name="connsiteY1" fmla="*/ 0 h 1828800"/>
                <a:gd name="connsiteX2" fmla="*/ 3797301 w 3797301"/>
                <a:gd name="connsiteY2" fmla="*/ 1828800 h 1828800"/>
                <a:gd name="connsiteX3" fmla="*/ 0 w 3797301"/>
                <a:gd name="connsiteY3" fmla="*/ 1828800 h 1828800"/>
                <a:gd name="connsiteX4" fmla="*/ 0 w 3797301"/>
                <a:gd name="connsiteY4" fmla="*/ 0 h 182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7301" h="1828800">
                  <a:moveTo>
                    <a:pt x="0" y="0"/>
                  </a:moveTo>
                  <a:lnTo>
                    <a:pt x="2324101" y="0"/>
                  </a:lnTo>
                  <a:lnTo>
                    <a:pt x="3797301" y="1828800"/>
                  </a:lnTo>
                  <a:lnTo>
                    <a:pt x="0" y="1828800"/>
                  </a:lnTo>
                  <a:lnTo>
                    <a:pt x="0" y="0"/>
                  </a:lnTo>
                  <a:close/>
                </a:path>
              </a:pathLst>
            </a:custGeom>
            <a:solidFill>
              <a:srgbClr val="0097A9">
                <a:alpha val="58039"/>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l" defTabSz="742969"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dirty="0">
                <a:ln>
                  <a:noFill/>
                </a:ln>
                <a:solidFill>
                  <a:schemeClr val="bg1"/>
                </a:solidFill>
                <a:effectLst/>
                <a:uLnTx/>
                <a:uFillTx/>
                <a:ea typeface="+mj-ea"/>
                <a:cs typeface="Calibri Light" panose="020F0302020204030204" pitchFamily="34" charset="0"/>
              </a:endParaRPr>
            </a:p>
          </p:txBody>
        </p:sp>
        <p:cxnSp>
          <p:nvCxnSpPr>
            <p:cNvPr id="91" name="Straight Connector 90">
              <a:extLst>
                <a:ext uri="{FF2B5EF4-FFF2-40B4-BE49-F238E27FC236}">
                  <a16:creationId xmlns:a16="http://schemas.microsoft.com/office/drawing/2014/main" id="{E6A56BE3-798D-0D48-41A9-685FA7E4F749}"/>
                </a:ext>
              </a:extLst>
            </p:cNvPr>
            <p:cNvCxnSpPr>
              <a:cxnSpLocks/>
            </p:cNvCxnSpPr>
            <p:nvPr/>
          </p:nvCxnSpPr>
          <p:spPr>
            <a:xfrm>
              <a:off x="144240" y="2624138"/>
              <a:ext cx="2843212" cy="0"/>
            </a:xfrm>
            <a:prstGeom prst="line">
              <a:avLst/>
            </a:prstGeom>
            <a:ln>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2" name="Title 1">
              <a:extLst>
                <a:ext uri="{FF2B5EF4-FFF2-40B4-BE49-F238E27FC236}">
                  <a16:creationId xmlns:a16="http://schemas.microsoft.com/office/drawing/2014/main" id="{BBD2F9E4-B54E-B453-EF1A-6B4C54AB9820}"/>
                </a:ext>
              </a:extLst>
            </p:cNvPr>
            <p:cNvSpPr txBox="1">
              <a:spLocks/>
            </p:cNvSpPr>
            <p:nvPr/>
          </p:nvSpPr>
          <p:spPr bwMode="gray">
            <a:xfrm>
              <a:off x="144240" y="1806726"/>
              <a:ext cx="2246312" cy="674993"/>
            </a:xfrm>
            <a:prstGeom prst="rect">
              <a:avLst/>
            </a:prstGeom>
          </p:spPr>
          <p:txBody>
            <a:bodyPr vert="horz" wrap="square" lIns="0" tIns="45720" rIns="0" bIns="0" rtlCol="0" anchor="t" anchorCtr="0">
              <a:spAutoFit/>
            </a:bodyPr>
            <a:lstStyle>
              <a:lvl1pPr algn="l" defTabSz="1219170" rtl="0" eaLnBrk="1" latinLnBrk="0" hangingPunct="1">
                <a:lnSpc>
                  <a:spcPct val="90000"/>
                </a:lnSpc>
                <a:spcBef>
                  <a:spcPct val="0"/>
                </a:spcBef>
                <a:buNone/>
                <a:defRPr lang="en-US" sz="2400" kern="1200" spc="-75" dirty="0">
                  <a:solidFill>
                    <a:schemeClr val="bg1"/>
                  </a:solidFill>
                  <a:latin typeface="+mj-lt"/>
                  <a:ea typeface="+mj-ea"/>
                  <a:cs typeface="+mj-cs"/>
                </a:defRPr>
              </a:lvl1pPr>
            </a:lstStyle>
            <a:p>
              <a:pPr defTabSz="685800">
                <a:lnSpc>
                  <a:spcPct val="85000"/>
                </a:lnSpc>
              </a:pPr>
              <a:endParaRPr lang="en-US" dirty="0"/>
            </a:p>
            <a:p>
              <a:pPr defTabSz="685800">
                <a:lnSpc>
                  <a:spcPct val="85000"/>
                </a:lnSpc>
              </a:pPr>
              <a:r>
                <a:rPr lang="en-US" dirty="0"/>
                <a:t>Agenda</a:t>
              </a:r>
            </a:p>
          </p:txBody>
        </p:sp>
      </p:grpSp>
    </p:spTree>
    <p:extLst>
      <p:ext uri="{BB962C8B-B14F-4D97-AF65-F5344CB8AC3E}">
        <p14:creationId xmlns:p14="http://schemas.microsoft.com/office/powerpoint/2010/main" val="22951158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D5E0DCD-3C3E-F486-AA79-B64FF478EA02}"/>
              </a:ext>
            </a:extLst>
          </p:cNvPr>
          <p:cNvSpPr txBox="1">
            <a:spLocks/>
          </p:cNvSpPr>
          <p:nvPr/>
        </p:nvSpPr>
        <p:spPr>
          <a:xfrm>
            <a:off x="419693" y="304799"/>
            <a:ext cx="674101" cy="677108"/>
          </a:xfrm>
          <a:prstGeom prst="rect">
            <a:avLst/>
          </a:prstGeom>
          <a:noFill/>
        </p:spPr>
        <p:txBody>
          <a:bodyPr wrap="square" lIns="0" tIns="0" rIns="0" bIns="0" rtlCol="0" anchor="ctr">
            <a:spAutoFit/>
          </a:bodyPr>
          <a:lstStyle/>
          <a:p>
            <a:pPr marL="0" marR="0" lvl="0" indent="0" algn="r" defTabSz="914400" eaLnBrk="1" fontAlgn="auto" latinLnBrk="0" hangingPunct="1">
              <a:lnSpc>
                <a:spcPct val="100000"/>
              </a:lnSpc>
              <a:spcBef>
                <a:spcPts val="488"/>
              </a:spcBef>
              <a:spcAft>
                <a:spcPts val="0"/>
              </a:spcAft>
              <a:buClrTx/>
              <a:buSzPct val="100000"/>
              <a:buFontTx/>
              <a:buNone/>
              <a:tabLst/>
              <a:defRPr/>
            </a:pPr>
            <a:r>
              <a:rPr kumimoji="0" lang="en-US" sz="4400" b="1" i="0" u="none" strike="noStrike" kern="0" cap="none" spc="0" normalizeH="0" baseline="0" noProof="0">
                <a:ln>
                  <a:noFill/>
                </a:ln>
                <a:solidFill>
                  <a:schemeClr val="accent5"/>
                </a:solidFill>
                <a:effectLst/>
                <a:uLnTx/>
                <a:uFillTx/>
              </a:rPr>
              <a:t>01</a:t>
            </a:r>
            <a:endParaRPr kumimoji="0" lang="en-US" sz="4400" b="1" i="0" u="none" strike="noStrike" kern="0" cap="none" spc="0" normalizeH="0" baseline="0" noProof="0" dirty="0">
              <a:ln>
                <a:noFill/>
              </a:ln>
              <a:solidFill>
                <a:schemeClr val="accent5"/>
              </a:solidFill>
              <a:effectLst/>
              <a:uLnTx/>
              <a:uFillTx/>
            </a:endParaRPr>
          </a:p>
        </p:txBody>
      </p:sp>
      <p:sp>
        <p:nvSpPr>
          <p:cNvPr id="9" name="Chord 8">
            <a:extLst>
              <a:ext uri="{FF2B5EF4-FFF2-40B4-BE49-F238E27FC236}">
                <a16:creationId xmlns:a16="http://schemas.microsoft.com/office/drawing/2014/main" id="{C01C9779-CA12-89B0-2BF6-076CB20E46CE}"/>
              </a:ext>
            </a:extLst>
          </p:cNvPr>
          <p:cNvSpPr/>
          <p:nvPr/>
        </p:nvSpPr>
        <p:spPr bwMode="gray">
          <a:xfrm>
            <a:off x="844550" y="639488"/>
            <a:ext cx="376965" cy="362083"/>
          </a:xfrm>
          <a:prstGeom prst="chord">
            <a:avLst>
              <a:gd name="adj1" fmla="val 2700000"/>
              <a:gd name="adj2" fmla="val 18834732"/>
            </a:avLst>
          </a:prstGeom>
          <a:solidFill>
            <a:srgbClr val="0097A9">
              <a:alpha val="3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cxnSp>
        <p:nvCxnSpPr>
          <p:cNvPr id="11" name="Straight Connector 10">
            <a:extLst>
              <a:ext uri="{FF2B5EF4-FFF2-40B4-BE49-F238E27FC236}">
                <a16:creationId xmlns:a16="http://schemas.microsoft.com/office/drawing/2014/main" id="{CAA7F5B9-A7E2-9FA3-4417-16CA8221FD98}"/>
              </a:ext>
            </a:extLst>
          </p:cNvPr>
          <p:cNvCxnSpPr>
            <a:cxnSpLocks/>
          </p:cNvCxnSpPr>
          <p:nvPr/>
        </p:nvCxnSpPr>
        <p:spPr>
          <a:xfrm>
            <a:off x="1155579" y="380566"/>
            <a:ext cx="0" cy="601341"/>
          </a:xfrm>
          <a:prstGeom prst="line">
            <a:avLst/>
          </a:prstGeom>
          <a:ln>
            <a:solidFill>
              <a:schemeClr val="accent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0A8A1C20-E675-8C07-6D76-D85BEF7A356F}"/>
              </a:ext>
            </a:extLst>
          </p:cNvPr>
          <p:cNvSpPr>
            <a:spLocks noGrp="1"/>
          </p:cNvSpPr>
          <p:nvPr>
            <p:ph type="title"/>
          </p:nvPr>
        </p:nvSpPr>
        <p:spPr>
          <a:xfrm>
            <a:off x="1217364" y="565723"/>
            <a:ext cx="10504735" cy="451866"/>
          </a:xfrm>
        </p:spPr>
        <p:txBody>
          <a:bodyPr/>
          <a:lstStyle/>
          <a:p>
            <a:r>
              <a:rPr lang="en-US" dirty="0"/>
              <a:t>When and how the Cloud journey started</a:t>
            </a:r>
          </a:p>
        </p:txBody>
      </p:sp>
      <p:graphicFrame>
        <p:nvGraphicFramePr>
          <p:cNvPr id="19" name="Chart 18">
            <a:extLst>
              <a:ext uri="{FF2B5EF4-FFF2-40B4-BE49-F238E27FC236}">
                <a16:creationId xmlns:a16="http://schemas.microsoft.com/office/drawing/2014/main" id="{1CB73718-9CB8-3CF4-46FC-7420C551F027}"/>
              </a:ext>
            </a:extLst>
          </p:cNvPr>
          <p:cNvGraphicFramePr/>
          <p:nvPr>
            <p:extLst>
              <p:ext uri="{D42A27DB-BD31-4B8C-83A1-F6EECF244321}">
                <p14:modId xmlns:p14="http://schemas.microsoft.com/office/powerpoint/2010/main" val="2198449159"/>
              </p:ext>
            </p:extLst>
          </p:nvPr>
        </p:nvGraphicFramePr>
        <p:xfrm>
          <a:off x="469900" y="2204000"/>
          <a:ext cx="6541338" cy="40951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5" name="Chart 34">
            <a:extLst>
              <a:ext uri="{FF2B5EF4-FFF2-40B4-BE49-F238E27FC236}">
                <a16:creationId xmlns:a16="http://schemas.microsoft.com/office/drawing/2014/main" id="{78C0792C-D80E-20CF-D3C2-9EC45CA621B4}"/>
              </a:ext>
            </a:extLst>
          </p:cNvPr>
          <p:cNvGraphicFramePr/>
          <p:nvPr>
            <p:extLst>
              <p:ext uri="{D42A27DB-BD31-4B8C-83A1-F6EECF244321}">
                <p14:modId xmlns:p14="http://schemas.microsoft.com/office/powerpoint/2010/main" val="502980495"/>
              </p:ext>
            </p:extLst>
          </p:nvPr>
        </p:nvGraphicFramePr>
        <p:xfrm>
          <a:off x="7558618" y="2204000"/>
          <a:ext cx="4163482" cy="4095199"/>
        </p:xfrm>
        <a:graphic>
          <a:graphicData uri="http://schemas.openxmlformats.org/drawingml/2006/chart">
            <c:chart xmlns:c="http://schemas.openxmlformats.org/drawingml/2006/chart" xmlns:r="http://schemas.openxmlformats.org/officeDocument/2006/relationships" r:id="rId3"/>
          </a:graphicData>
        </a:graphic>
      </p:graphicFrame>
      <p:sp>
        <p:nvSpPr>
          <p:cNvPr id="51" name="Rectangle 50">
            <a:extLst>
              <a:ext uri="{FF2B5EF4-FFF2-40B4-BE49-F238E27FC236}">
                <a16:creationId xmlns:a16="http://schemas.microsoft.com/office/drawing/2014/main" id="{E79061CE-CE3F-3B38-EA77-74CA8FDE500A}"/>
              </a:ext>
            </a:extLst>
          </p:cNvPr>
          <p:cNvSpPr>
            <a:spLocks/>
          </p:cNvSpPr>
          <p:nvPr/>
        </p:nvSpPr>
        <p:spPr bwMode="gray">
          <a:xfrm>
            <a:off x="0" y="1377827"/>
            <a:ext cx="12192000" cy="593187"/>
          </a:xfrm>
          <a:prstGeom prst="rect">
            <a:avLst/>
          </a:prstGeom>
          <a:solidFill>
            <a:srgbClr val="0097A9"/>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20" name="Rectangle 19">
            <a:extLst>
              <a:ext uri="{FF2B5EF4-FFF2-40B4-BE49-F238E27FC236}">
                <a16:creationId xmlns:a16="http://schemas.microsoft.com/office/drawing/2014/main" id="{29460F69-615F-79C6-566E-CE04446CBCE4}"/>
              </a:ext>
            </a:extLst>
          </p:cNvPr>
          <p:cNvSpPr/>
          <p:nvPr/>
        </p:nvSpPr>
        <p:spPr bwMode="gray">
          <a:xfrm>
            <a:off x="517526" y="1529392"/>
            <a:ext cx="6493712" cy="246221"/>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b="1" dirty="0" err="1">
                <a:solidFill>
                  <a:schemeClr val="bg1"/>
                </a:solidFill>
              </a:rPr>
              <a:t>Hyperscaler</a:t>
            </a:r>
            <a:r>
              <a:rPr lang="en-US" sz="1600" b="1" dirty="0">
                <a:solidFill>
                  <a:schemeClr val="bg1"/>
                </a:solidFill>
              </a:rPr>
              <a:t> cloud adoption starting year</a:t>
            </a:r>
          </a:p>
        </p:txBody>
      </p:sp>
      <p:sp>
        <p:nvSpPr>
          <p:cNvPr id="26" name="Rectangle 25">
            <a:extLst>
              <a:ext uri="{FF2B5EF4-FFF2-40B4-BE49-F238E27FC236}">
                <a16:creationId xmlns:a16="http://schemas.microsoft.com/office/drawing/2014/main" id="{020860FB-F039-ED88-44B4-D6111E3ED854}"/>
              </a:ext>
            </a:extLst>
          </p:cNvPr>
          <p:cNvSpPr/>
          <p:nvPr/>
        </p:nvSpPr>
        <p:spPr bwMode="gray">
          <a:xfrm>
            <a:off x="7693498" y="1529392"/>
            <a:ext cx="4028601" cy="246221"/>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Cloud journey initial lead</a:t>
            </a:r>
          </a:p>
        </p:txBody>
      </p:sp>
      <p:cxnSp>
        <p:nvCxnSpPr>
          <p:cNvPr id="55" name="Straight Connector 54">
            <a:extLst>
              <a:ext uri="{FF2B5EF4-FFF2-40B4-BE49-F238E27FC236}">
                <a16:creationId xmlns:a16="http://schemas.microsoft.com/office/drawing/2014/main" id="{35FD6934-0190-95F5-CE50-8DDFF880746A}"/>
              </a:ext>
            </a:extLst>
          </p:cNvPr>
          <p:cNvCxnSpPr>
            <a:cxnSpLocks/>
          </p:cNvCxnSpPr>
          <p:nvPr/>
        </p:nvCxnSpPr>
        <p:spPr>
          <a:xfrm>
            <a:off x="389467" y="1484436"/>
            <a:ext cx="0" cy="3466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E315EC6-627D-AF41-FCF1-D3F0069CF92A}"/>
              </a:ext>
            </a:extLst>
          </p:cNvPr>
          <p:cNvCxnSpPr>
            <a:cxnSpLocks/>
          </p:cNvCxnSpPr>
          <p:nvPr/>
        </p:nvCxnSpPr>
        <p:spPr>
          <a:xfrm>
            <a:off x="7558617" y="1484436"/>
            <a:ext cx="0" cy="3466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0647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A415CB-62DC-DF7E-D066-CA38BE3E0EBD}"/>
              </a:ext>
            </a:extLst>
          </p:cNvPr>
          <p:cNvGraphicFramePr>
            <a:graphicFrameLocks noChangeAspect="1"/>
          </p:cNvGraphicFramePr>
          <p:nvPr>
            <p:custDataLst>
              <p:tags r:id="rId1"/>
            </p:custDataLst>
            <p:extLst>
              <p:ext uri="{D42A27DB-BD31-4B8C-83A1-F6EECF244321}">
                <p14:modId xmlns:p14="http://schemas.microsoft.com/office/powerpoint/2010/main" val="728931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3D5E0DCD-3C3E-F486-AA79-B64FF478EA02}"/>
              </a:ext>
            </a:extLst>
          </p:cNvPr>
          <p:cNvSpPr txBox="1">
            <a:spLocks/>
          </p:cNvSpPr>
          <p:nvPr/>
        </p:nvSpPr>
        <p:spPr>
          <a:xfrm>
            <a:off x="419693" y="304799"/>
            <a:ext cx="674101" cy="677108"/>
          </a:xfrm>
          <a:prstGeom prst="rect">
            <a:avLst/>
          </a:prstGeom>
          <a:noFill/>
        </p:spPr>
        <p:txBody>
          <a:bodyPr wrap="square" lIns="0" tIns="0" rIns="0" bIns="0" rtlCol="0" anchor="ctr">
            <a:spAutoFit/>
          </a:bodyPr>
          <a:lstStyle/>
          <a:p>
            <a:pPr marL="0" marR="0" lvl="0" indent="0" algn="r" defTabSz="914400" eaLnBrk="1" fontAlgn="auto" latinLnBrk="0" hangingPunct="1">
              <a:lnSpc>
                <a:spcPct val="100000"/>
              </a:lnSpc>
              <a:spcBef>
                <a:spcPts val="488"/>
              </a:spcBef>
              <a:spcAft>
                <a:spcPts val="0"/>
              </a:spcAft>
              <a:buClrTx/>
              <a:buSzPct val="100000"/>
              <a:buFontTx/>
              <a:buNone/>
              <a:tabLst/>
              <a:defRPr/>
            </a:pPr>
            <a:r>
              <a:rPr kumimoji="0" lang="en-US" sz="4400" b="1" i="0" u="none" strike="noStrike" kern="0" cap="none" spc="0" normalizeH="0" baseline="0" noProof="0">
                <a:ln>
                  <a:noFill/>
                </a:ln>
                <a:solidFill>
                  <a:schemeClr val="accent5"/>
                </a:solidFill>
                <a:effectLst/>
                <a:uLnTx/>
                <a:uFillTx/>
              </a:rPr>
              <a:t>02</a:t>
            </a:r>
            <a:endParaRPr kumimoji="0" lang="en-US" sz="4400" b="1" i="0" u="none" strike="noStrike" kern="0" cap="none" spc="0" normalizeH="0" baseline="0" noProof="0" dirty="0">
              <a:ln>
                <a:noFill/>
              </a:ln>
              <a:solidFill>
                <a:schemeClr val="accent5"/>
              </a:solidFill>
              <a:effectLst/>
              <a:uLnTx/>
              <a:uFillTx/>
            </a:endParaRPr>
          </a:p>
        </p:txBody>
      </p:sp>
      <p:sp>
        <p:nvSpPr>
          <p:cNvPr id="9" name="Chord 8">
            <a:extLst>
              <a:ext uri="{FF2B5EF4-FFF2-40B4-BE49-F238E27FC236}">
                <a16:creationId xmlns:a16="http://schemas.microsoft.com/office/drawing/2014/main" id="{C01C9779-CA12-89B0-2BF6-076CB20E46CE}"/>
              </a:ext>
            </a:extLst>
          </p:cNvPr>
          <p:cNvSpPr/>
          <p:nvPr/>
        </p:nvSpPr>
        <p:spPr bwMode="gray">
          <a:xfrm>
            <a:off x="844550" y="639488"/>
            <a:ext cx="376965" cy="362083"/>
          </a:xfrm>
          <a:prstGeom prst="chord">
            <a:avLst>
              <a:gd name="adj1" fmla="val 2700000"/>
              <a:gd name="adj2" fmla="val 18834732"/>
            </a:avLst>
          </a:prstGeom>
          <a:solidFill>
            <a:srgbClr val="0097A9">
              <a:alpha val="3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cxnSp>
        <p:nvCxnSpPr>
          <p:cNvPr id="11" name="Straight Connector 10">
            <a:extLst>
              <a:ext uri="{FF2B5EF4-FFF2-40B4-BE49-F238E27FC236}">
                <a16:creationId xmlns:a16="http://schemas.microsoft.com/office/drawing/2014/main" id="{CAA7F5B9-A7E2-9FA3-4417-16CA8221FD98}"/>
              </a:ext>
            </a:extLst>
          </p:cNvPr>
          <p:cNvCxnSpPr>
            <a:cxnSpLocks/>
          </p:cNvCxnSpPr>
          <p:nvPr/>
        </p:nvCxnSpPr>
        <p:spPr>
          <a:xfrm>
            <a:off x="1155579" y="380566"/>
            <a:ext cx="0" cy="601341"/>
          </a:xfrm>
          <a:prstGeom prst="line">
            <a:avLst/>
          </a:prstGeom>
          <a:ln>
            <a:solidFill>
              <a:schemeClr val="accent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0A8A1C20-E675-8C07-6D76-D85BEF7A356F}"/>
              </a:ext>
            </a:extLst>
          </p:cNvPr>
          <p:cNvSpPr>
            <a:spLocks noGrp="1"/>
          </p:cNvSpPr>
          <p:nvPr>
            <p:ph type="title"/>
          </p:nvPr>
        </p:nvSpPr>
        <p:spPr>
          <a:xfrm>
            <a:off x="1217364" y="565723"/>
            <a:ext cx="10504735" cy="451866"/>
          </a:xfrm>
        </p:spPr>
        <p:txBody>
          <a:bodyPr vert="horz"/>
          <a:lstStyle/>
          <a:p>
            <a:r>
              <a:rPr lang="en-US"/>
              <a:t>Cloud adoption drivers and strategy </a:t>
            </a:r>
            <a:endParaRPr lang="en-US" dirty="0"/>
          </a:p>
        </p:txBody>
      </p:sp>
      <p:graphicFrame>
        <p:nvGraphicFramePr>
          <p:cNvPr id="17" name="Chart 16">
            <a:extLst>
              <a:ext uri="{FF2B5EF4-FFF2-40B4-BE49-F238E27FC236}">
                <a16:creationId xmlns:a16="http://schemas.microsoft.com/office/drawing/2014/main" id="{A3A6BC62-DFEF-4BFA-7177-15D03055D0C4}"/>
              </a:ext>
            </a:extLst>
          </p:cNvPr>
          <p:cNvGraphicFramePr/>
          <p:nvPr>
            <p:extLst>
              <p:ext uri="{D42A27DB-BD31-4B8C-83A1-F6EECF244321}">
                <p14:modId xmlns:p14="http://schemas.microsoft.com/office/powerpoint/2010/main" val="1850381123"/>
              </p:ext>
            </p:extLst>
          </p:nvPr>
        </p:nvGraphicFramePr>
        <p:xfrm>
          <a:off x="7661709" y="2023896"/>
          <a:ext cx="4060392" cy="4364203"/>
        </p:xfrm>
        <a:graphic>
          <a:graphicData uri="http://schemas.openxmlformats.org/drawingml/2006/chart">
            <c:chart xmlns:c="http://schemas.openxmlformats.org/drawingml/2006/chart" xmlns:r="http://schemas.openxmlformats.org/officeDocument/2006/relationships" r:id="rId5"/>
          </a:graphicData>
        </a:graphic>
      </p:graphicFrame>
      <p:sp>
        <p:nvSpPr>
          <p:cNvPr id="2" name="Rectangle 1">
            <a:extLst>
              <a:ext uri="{FF2B5EF4-FFF2-40B4-BE49-F238E27FC236}">
                <a16:creationId xmlns:a16="http://schemas.microsoft.com/office/drawing/2014/main" id="{8AD13ACB-D8E3-11CA-9D7B-6305EED189C5}"/>
              </a:ext>
            </a:extLst>
          </p:cNvPr>
          <p:cNvSpPr/>
          <p:nvPr/>
        </p:nvSpPr>
        <p:spPr bwMode="gray">
          <a:xfrm>
            <a:off x="0" y="1377827"/>
            <a:ext cx="12192000" cy="593187"/>
          </a:xfrm>
          <a:prstGeom prst="rect">
            <a:avLst/>
          </a:prstGeom>
          <a:solidFill>
            <a:srgbClr val="0097A9"/>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3" name="Rectangle 2">
            <a:extLst>
              <a:ext uri="{FF2B5EF4-FFF2-40B4-BE49-F238E27FC236}">
                <a16:creationId xmlns:a16="http://schemas.microsoft.com/office/drawing/2014/main" id="{A6E663D0-42C0-837C-4D71-DE00C13B13A9}"/>
              </a:ext>
            </a:extLst>
          </p:cNvPr>
          <p:cNvSpPr/>
          <p:nvPr/>
        </p:nvSpPr>
        <p:spPr bwMode="gray">
          <a:xfrm>
            <a:off x="517526" y="1529392"/>
            <a:ext cx="6493712" cy="246221"/>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Cloud adoption key drivers</a:t>
            </a:r>
          </a:p>
        </p:txBody>
      </p:sp>
      <p:sp>
        <p:nvSpPr>
          <p:cNvPr id="4" name="Rectangle 3">
            <a:extLst>
              <a:ext uri="{FF2B5EF4-FFF2-40B4-BE49-F238E27FC236}">
                <a16:creationId xmlns:a16="http://schemas.microsoft.com/office/drawing/2014/main" id="{4EDFBF48-CAE6-EEBC-0B3D-D6E03B2020C8}"/>
              </a:ext>
            </a:extLst>
          </p:cNvPr>
          <p:cNvSpPr/>
          <p:nvPr/>
        </p:nvSpPr>
        <p:spPr bwMode="gray">
          <a:xfrm>
            <a:off x="7693498" y="1529392"/>
            <a:ext cx="4028601" cy="246221"/>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Cloud adoption archetypes</a:t>
            </a:r>
          </a:p>
        </p:txBody>
      </p:sp>
      <p:cxnSp>
        <p:nvCxnSpPr>
          <p:cNvPr id="5" name="Straight Connector 4">
            <a:extLst>
              <a:ext uri="{FF2B5EF4-FFF2-40B4-BE49-F238E27FC236}">
                <a16:creationId xmlns:a16="http://schemas.microsoft.com/office/drawing/2014/main" id="{FA240880-CF2E-E787-E389-5C5F546D1C99}"/>
              </a:ext>
            </a:extLst>
          </p:cNvPr>
          <p:cNvCxnSpPr>
            <a:cxnSpLocks/>
          </p:cNvCxnSpPr>
          <p:nvPr/>
        </p:nvCxnSpPr>
        <p:spPr>
          <a:xfrm>
            <a:off x="389467" y="1484436"/>
            <a:ext cx="0" cy="3466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DFA3699-B33C-15B6-8FA7-3FB5E32AC5B7}"/>
              </a:ext>
            </a:extLst>
          </p:cNvPr>
          <p:cNvSpPr/>
          <p:nvPr/>
        </p:nvSpPr>
        <p:spPr bwMode="gray">
          <a:xfrm>
            <a:off x="9195037" y="5174720"/>
            <a:ext cx="1247302" cy="153888"/>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rtl="0">
              <a:defRPr sz="1800" b="0" i="0" u="none" strike="noStrike" kern="1200" spc="0" baseline="0">
                <a:solidFill>
                  <a:prstClr val="black">
                    <a:lumMod val="65000"/>
                    <a:lumOff val="35000"/>
                  </a:prstClr>
                </a:solidFill>
                <a:latin typeface="+mn-lt"/>
                <a:ea typeface="+mn-ea"/>
                <a:cs typeface="+mn-cs"/>
              </a:defRPr>
            </a:pPr>
            <a:r>
              <a:rPr lang="en-US" sz="1000" dirty="0"/>
              <a:t># respondents</a:t>
            </a:r>
          </a:p>
        </p:txBody>
      </p:sp>
      <p:graphicFrame>
        <p:nvGraphicFramePr>
          <p:cNvPr id="21" name="Chart 20">
            <a:extLst>
              <a:ext uri="{FF2B5EF4-FFF2-40B4-BE49-F238E27FC236}">
                <a16:creationId xmlns:a16="http://schemas.microsoft.com/office/drawing/2014/main" id="{651C6732-B8C7-0FC9-BD60-E5997449291B}"/>
              </a:ext>
            </a:extLst>
          </p:cNvPr>
          <p:cNvGraphicFramePr/>
          <p:nvPr>
            <p:extLst>
              <p:ext uri="{D42A27DB-BD31-4B8C-83A1-F6EECF244321}">
                <p14:modId xmlns:p14="http://schemas.microsoft.com/office/powerpoint/2010/main" val="3400551252"/>
              </p:ext>
            </p:extLst>
          </p:nvPr>
        </p:nvGraphicFramePr>
        <p:xfrm>
          <a:off x="469900" y="2084079"/>
          <a:ext cx="6486143" cy="4239609"/>
        </p:xfrm>
        <a:graphic>
          <a:graphicData uri="http://schemas.openxmlformats.org/drawingml/2006/chart">
            <c:chart xmlns:c="http://schemas.openxmlformats.org/drawingml/2006/chart" xmlns:r="http://schemas.openxmlformats.org/officeDocument/2006/relationships" r:id="rId6"/>
          </a:graphicData>
        </a:graphic>
      </p:graphicFrame>
      <p:cxnSp>
        <p:nvCxnSpPr>
          <p:cNvPr id="22" name="Straight Connector 21">
            <a:extLst>
              <a:ext uri="{FF2B5EF4-FFF2-40B4-BE49-F238E27FC236}">
                <a16:creationId xmlns:a16="http://schemas.microsoft.com/office/drawing/2014/main" id="{A4B87C50-07E8-AA5D-7697-B84E132C3D6F}"/>
              </a:ext>
            </a:extLst>
          </p:cNvPr>
          <p:cNvCxnSpPr>
            <a:cxnSpLocks/>
          </p:cNvCxnSpPr>
          <p:nvPr/>
        </p:nvCxnSpPr>
        <p:spPr>
          <a:xfrm>
            <a:off x="7568309" y="1484436"/>
            <a:ext cx="0" cy="3466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29002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D5E0DCD-3C3E-F486-AA79-B64FF478EA02}"/>
              </a:ext>
            </a:extLst>
          </p:cNvPr>
          <p:cNvSpPr txBox="1">
            <a:spLocks/>
          </p:cNvSpPr>
          <p:nvPr/>
        </p:nvSpPr>
        <p:spPr>
          <a:xfrm>
            <a:off x="419693" y="304799"/>
            <a:ext cx="674101" cy="677108"/>
          </a:xfrm>
          <a:prstGeom prst="rect">
            <a:avLst/>
          </a:prstGeom>
          <a:noFill/>
        </p:spPr>
        <p:txBody>
          <a:bodyPr wrap="square" lIns="0" tIns="0" rIns="0" bIns="0" rtlCol="0" anchor="ctr">
            <a:spAutoFit/>
          </a:bodyPr>
          <a:lstStyle/>
          <a:p>
            <a:pPr marL="0" marR="0" lvl="0" indent="0" algn="r" defTabSz="914400" eaLnBrk="1" fontAlgn="auto" latinLnBrk="0" hangingPunct="1">
              <a:lnSpc>
                <a:spcPct val="100000"/>
              </a:lnSpc>
              <a:spcBef>
                <a:spcPts val="488"/>
              </a:spcBef>
              <a:spcAft>
                <a:spcPts val="0"/>
              </a:spcAft>
              <a:buClrTx/>
              <a:buSzPct val="100000"/>
              <a:buFontTx/>
              <a:buNone/>
              <a:tabLst/>
              <a:defRPr/>
            </a:pPr>
            <a:r>
              <a:rPr kumimoji="0" lang="en-US" sz="4400" b="1" i="0" u="none" strike="noStrike" kern="0" cap="none" spc="0" normalizeH="0" baseline="0" noProof="0">
                <a:ln>
                  <a:noFill/>
                </a:ln>
                <a:solidFill>
                  <a:schemeClr val="accent5"/>
                </a:solidFill>
                <a:effectLst/>
                <a:uLnTx/>
                <a:uFillTx/>
              </a:rPr>
              <a:t>03</a:t>
            </a:r>
            <a:endParaRPr kumimoji="0" lang="en-US" sz="4400" b="1" i="0" u="none" strike="noStrike" kern="0" cap="none" spc="0" normalizeH="0" baseline="0" noProof="0" dirty="0">
              <a:ln>
                <a:noFill/>
              </a:ln>
              <a:solidFill>
                <a:schemeClr val="accent5"/>
              </a:solidFill>
              <a:effectLst/>
              <a:uLnTx/>
              <a:uFillTx/>
            </a:endParaRPr>
          </a:p>
        </p:txBody>
      </p:sp>
      <p:sp>
        <p:nvSpPr>
          <p:cNvPr id="9" name="Chord 8">
            <a:extLst>
              <a:ext uri="{FF2B5EF4-FFF2-40B4-BE49-F238E27FC236}">
                <a16:creationId xmlns:a16="http://schemas.microsoft.com/office/drawing/2014/main" id="{C01C9779-CA12-89B0-2BF6-076CB20E46CE}"/>
              </a:ext>
            </a:extLst>
          </p:cNvPr>
          <p:cNvSpPr/>
          <p:nvPr/>
        </p:nvSpPr>
        <p:spPr bwMode="gray">
          <a:xfrm>
            <a:off x="844550" y="639488"/>
            <a:ext cx="376965" cy="362083"/>
          </a:xfrm>
          <a:prstGeom prst="chord">
            <a:avLst>
              <a:gd name="adj1" fmla="val 2700000"/>
              <a:gd name="adj2" fmla="val 18834732"/>
            </a:avLst>
          </a:prstGeom>
          <a:solidFill>
            <a:srgbClr val="0097A9">
              <a:alpha val="3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cxnSp>
        <p:nvCxnSpPr>
          <p:cNvPr id="11" name="Straight Connector 10">
            <a:extLst>
              <a:ext uri="{FF2B5EF4-FFF2-40B4-BE49-F238E27FC236}">
                <a16:creationId xmlns:a16="http://schemas.microsoft.com/office/drawing/2014/main" id="{CAA7F5B9-A7E2-9FA3-4417-16CA8221FD98}"/>
              </a:ext>
            </a:extLst>
          </p:cNvPr>
          <p:cNvCxnSpPr>
            <a:cxnSpLocks/>
          </p:cNvCxnSpPr>
          <p:nvPr/>
        </p:nvCxnSpPr>
        <p:spPr>
          <a:xfrm>
            <a:off x="1155579" y="380566"/>
            <a:ext cx="0" cy="601341"/>
          </a:xfrm>
          <a:prstGeom prst="line">
            <a:avLst/>
          </a:prstGeom>
          <a:ln>
            <a:solidFill>
              <a:schemeClr val="accent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0A8A1C20-E675-8C07-6D76-D85BEF7A356F}"/>
              </a:ext>
            </a:extLst>
          </p:cNvPr>
          <p:cNvSpPr>
            <a:spLocks noGrp="1"/>
          </p:cNvSpPr>
          <p:nvPr>
            <p:ph type="title"/>
          </p:nvPr>
        </p:nvSpPr>
        <p:spPr>
          <a:xfrm>
            <a:off x="1217364" y="565723"/>
            <a:ext cx="10504735" cy="451866"/>
          </a:xfrm>
        </p:spPr>
        <p:txBody>
          <a:bodyPr/>
          <a:lstStyle/>
          <a:p>
            <a:r>
              <a:rPr lang="en-US" dirty="0"/>
              <a:t>Cloud adoption inhibitors and mitigations</a:t>
            </a:r>
          </a:p>
        </p:txBody>
      </p:sp>
      <p:graphicFrame>
        <p:nvGraphicFramePr>
          <p:cNvPr id="13" name="Chart 12">
            <a:extLst>
              <a:ext uri="{FF2B5EF4-FFF2-40B4-BE49-F238E27FC236}">
                <a16:creationId xmlns:a16="http://schemas.microsoft.com/office/drawing/2014/main" id="{1B234F76-14DA-3FCD-7639-022AA3344BE8}"/>
              </a:ext>
            </a:extLst>
          </p:cNvPr>
          <p:cNvGraphicFramePr/>
          <p:nvPr>
            <p:extLst>
              <p:ext uri="{D42A27DB-BD31-4B8C-83A1-F6EECF244321}">
                <p14:modId xmlns:p14="http://schemas.microsoft.com/office/powerpoint/2010/main" val="2063619778"/>
              </p:ext>
            </p:extLst>
          </p:nvPr>
        </p:nvGraphicFramePr>
        <p:xfrm>
          <a:off x="7425944" y="2080286"/>
          <a:ext cx="4346363" cy="4311745"/>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a:extLst>
              <a:ext uri="{FF2B5EF4-FFF2-40B4-BE49-F238E27FC236}">
                <a16:creationId xmlns:a16="http://schemas.microsoft.com/office/drawing/2014/main" id="{6A58912F-74D9-E887-ABF2-66ADEB336AC4}"/>
              </a:ext>
            </a:extLst>
          </p:cNvPr>
          <p:cNvSpPr/>
          <p:nvPr/>
        </p:nvSpPr>
        <p:spPr bwMode="gray">
          <a:xfrm>
            <a:off x="0" y="1377827"/>
            <a:ext cx="12192000" cy="593187"/>
          </a:xfrm>
          <a:prstGeom prst="rect">
            <a:avLst/>
          </a:prstGeom>
          <a:solidFill>
            <a:srgbClr val="0097A9"/>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3" name="Rectangle 2">
            <a:extLst>
              <a:ext uri="{FF2B5EF4-FFF2-40B4-BE49-F238E27FC236}">
                <a16:creationId xmlns:a16="http://schemas.microsoft.com/office/drawing/2014/main" id="{18FCA034-BB8C-A34A-7D43-DD005934CAA8}"/>
              </a:ext>
            </a:extLst>
          </p:cNvPr>
          <p:cNvSpPr/>
          <p:nvPr/>
        </p:nvSpPr>
        <p:spPr bwMode="gray">
          <a:xfrm>
            <a:off x="517526" y="1529392"/>
            <a:ext cx="6493712" cy="246221"/>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Cloud adoption key inhibitors</a:t>
            </a:r>
          </a:p>
        </p:txBody>
      </p:sp>
      <p:sp>
        <p:nvSpPr>
          <p:cNvPr id="4" name="Rectangle 3">
            <a:extLst>
              <a:ext uri="{FF2B5EF4-FFF2-40B4-BE49-F238E27FC236}">
                <a16:creationId xmlns:a16="http://schemas.microsoft.com/office/drawing/2014/main" id="{A5D729E0-775F-DC71-66E1-D5A2D1263768}"/>
              </a:ext>
            </a:extLst>
          </p:cNvPr>
          <p:cNvSpPr/>
          <p:nvPr/>
        </p:nvSpPr>
        <p:spPr bwMode="gray">
          <a:xfrm>
            <a:off x="7693498" y="1529392"/>
            <a:ext cx="4028601" cy="246221"/>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Cloud platform build &amp; run sourcing</a:t>
            </a:r>
          </a:p>
        </p:txBody>
      </p:sp>
      <p:cxnSp>
        <p:nvCxnSpPr>
          <p:cNvPr id="5" name="Straight Connector 4">
            <a:extLst>
              <a:ext uri="{FF2B5EF4-FFF2-40B4-BE49-F238E27FC236}">
                <a16:creationId xmlns:a16="http://schemas.microsoft.com/office/drawing/2014/main" id="{35010604-8548-CAE3-907D-058B977E669C}"/>
              </a:ext>
            </a:extLst>
          </p:cNvPr>
          <p:cNvCxnSpPr>
            <a:cxnSpLocks/>
          </p:cNvCxnSpPr>
          <p:nvPr/>
        </p:nvCxnSpPr>
        <p:spPr>
          <a:xfrm>
            <a:off x="389467" y="1484436"/>
            <a:ext cx="0" cy="3466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FD1F3E9-DF3D-C3E3-9A1B-2CB09FC59AEC}"/>
              </a:ext>
            </a:extLst>
          </p:cNvPr>
          <p:cNvCxnSpPr>
            <a:cxnSpLocks/>
          </p:cNvCxnSpPr>
          <p:nvPr/>
        </p:nvCxnSpPr>
        <p:spPr>
          <a:xfrm>
            <a:off x="7558617" y="1484436"/>
            <a:ext cx="0" cy="3466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6A40307E-4595-08C6-5365-E87058E86BFE}"/>
              </a:ext>
            </a:extLst>
          </p:cNvPr>
          <p:cNvSpPr/>
          <p:nvPr/>
        </p:nvSpPr>
        <p:spPr bwMode="gray">
          <a:xfrm>
            <a:off x="8975474" y="5174720"/>
            <a:ext cx="1247302" cy="153888"/>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rtl="0">
              <a:defRPr sz="1800" b="0" i="0" u="none" strike="noStrike" kern="1200" spc="0" baseline="0">
                <a:solidFill>
                  <a:prstClr val="black">
                    <a:lumMod val="65000"/>
                    <a:lumOff val="35000"/>
                  </a:prstClr>
                </a:solidFill>
                <a:latin typeface="+mn-lt"/>
                <a:ea typeface="+mn-ea"/>
                <a:cs typeface="+mn-cs"/>
              </a:defRPr>
            </a:pPr>
            <a:r>
              <a:rPr lang="en-US" sz="1000" dirty="0"/>
              <a:t># respondents</a:t>
            </a:r>
          </a:p>
        </p:txBody>
      </p:sp>
      <p:graphicFrame>
        <p:nvGraphicFramePr>
          <p:cNvPr id="15" name="Chart 14">
            <a:extLst>
              <a:ext uri="{FF2B5EF4-FFF2-40B4-BE49-F238E27FC236}">
                <a16:creationId xmlns:a16="http://schemas.microsoft.com/office/drawing/2014/main" id="{5CEF74B9-7336-80BA-4B33-E969ABEFDAC5}"/>
              </a:ext>
            </a:extLst>
          </p:cNvPr>
          <p:cNvGraphicFramePr/>
          <p:nvPr>
            <p:extLst>
              <p:ext uri="{D42A27DB-BD31-4B8C-83A1-F6EECF244321}">
                <p14:modId xmlns:p14="http://schemas.microsoft.com/office/powerpoint/2010/main" val="3446777636"/>
              </p:ext>
            </p:extLst>
          </p:nvPr>
        </p:nvGraphicFramePr>
        <p:xfrm>
          <a:off x="469900" y="2084079"/>
          <a:ext cx="6486143" cy="42396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307644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019E2230-9045-E8C3-812B-A5011E91327B}"/>
              </a:ext>
            </a:extLst>
          </p:cNvPr>
          <p:cNvGraphicFramePr>
            <a:graphicFrameLocks noChangeAspect="1"/>
          </p:cNvGraphicFramePr>
          <p:nvPr>
            <p:custDataLst>
              <p:tags r:id="rId1"/>
            </p:custDataLst>
            <p:extLst>
              <p:ext uri="{D42A27DB-BD31-4B8C-83A1-F6EECF244321}">
                <p14:modId xmlns:p14="http://schemas.microsoft.com/office/powerpoint/2010/main" val="67042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3D5E0DCD-3C3E-F486-AA79-B64FF478EA02}"/>
              </a:ext>
            </a:extLst>
          </p:cNvPr>
          <p:cNvSpPr txBox="1">
            <a:spLocks/>
          </p:cNvSpPr>
          <p:nvPr/>
        </p:nvSpPr>
        <p:spPr>
          <a:xfrm>
            <a:off x="419693" y="304799"/>
            <a:ext cx="674101" cy="677108"/>
          </a:xfrm>
          <a:prstGeom prst="rect">
            <a:avLst/>
          </a:prstGeom>
          <a:noFill/>
        </p:spPr>
        <p:txBody>
          <a:bodyPr wrap="square" lIns="0" tIns="0" rIns="0" bIns="0" rtlCol="0" anchor="ctr">
            <a:spAutoFit/>
          </a:bodyPr>
          <a:lstStyle/>
          <a:p>
            <a:pPr marL="0" marR="0" lvl="0" indent="0" algn="r" defTabSz="914400" eaLnBrk="1" fontAlgn="auto" latinLnBrk="0" hangingPunct="1">
              <a:lnSpc>
                <a:spcPct val="100000"/>
              </a:lnSpc>
              <a:spcBef>
                <a:spcPts val="488"/>
              </a:spcBef>
              <a:spcAft>
                <a:spcPts val="0"/>
              </a:spcAft>
              <a:buClrTx/>
              <a:buSzPct val="100000"/>
              <a:buFontTx/>
              <a:buNone/>
              <a:tabLst/>
              <a:defRPr/>
            </a:pPr>
            <a:r>
              <a:rPr kumimoji="0" lang="en-US" sz="4400" b="1" i="0" u="none" strike="noStrike" kern="0" cap="none" spc="0" normalizeH="0" baseline="0" noProof="0">
                <a:ln>
                  <a:noFill/>
                </a:ln>
                <a:solidFill>
                  <a:schemeClr val="accent5"/>
                </a:solidFill>
                <a:effectLst/>
                <a:uLnTx/>
                <a:uFillTx/>
              </a:rPr>
              <a:t>04</a:t>
            </a:r>
            <a:endParaRPr kumimoji="0" lang="en-US" sz="4400" b="1" i="0" u="none" strike="noStrike" kern="0" cap="none" spc="0" normalizeH="0" baseline="0" noProof="0" dirty="0">
              <a:ln>
                <a:noFill/>
              </a:ln>
              <a:solidFill>
                <a:schemeClr val="accent5"/>
              </a:solidFill>
              <a:effectLst/>
              <a:uLnTx/>
              <a:uFillTx/>
            </a:endParaRPr>
          </a:p>
        </p:txBody>
      </p:sp>
      <p:sp>
        <p:nvSpPr>
          <p:cNvPr id="9" name="Chord 8">
            <a:extLst>
              <a:ext uri="{FF2B5EF4-FFF2-40B4-BE49-F238E27FC236}">
                <a16:creationId xmlns:a16="http://schemas.microsoft.com/office/drawing/2014/main" id="{C01C9779-CA12-89B0-2BF6-076CB20E46CE}"/>
              </a:ext>
            </a:extLst>
          </p:cNvPr>
          <p:cNvSpPr/>
          <p:nvPr/>
        </p:nvSpPr>
        <p:spPr bwMode="gray">
          <a:xfrm>
            <a:off x="844550" y="639488"/>
            <a:ext cx="376965" cy="362083"/>
          </a:xfrm>
          <a:prstGeom prst="chord">
            <a:avLst>
              <a:gd name="adj1" fmla="val 2700000"/>
              <a:gd name="adj2" fmla="val 18834732"/>
            </a:avLst>
          </a:prstGeom>
          <a:solidFill>
            <a:srgbClr val="0097A9">
              <a:alpha val="3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cxnSp>
        <p:nvCxnSpPr>
          <p:cNvPr id="11" name="Straight Connector 10">
            <a:extLst>
              <a:ext uri="{FF2B5EF4-FFF2-40B4-BE49-F238E27FC236}">
                <a16:creationId xmlns:a16="http://schemas.microsoft.com/office/drawing/2014/main" id="{CAA7F5B9-A7E2-9FA3-4417-16CA8221FD98}"/>
              </a:ext>
            </a:extLst>
          </p:cNvPr>
          <p:cNvCxnSpPr>
            <a:cxnSpLocks/>
          </p:cNvCxnSpPr>
          <p:nvPr/>
        </p:nvCxnSpPr>
        <p:spPr>
          <a:xfrm>
            <a:off x="1155579" y="380566"/>
            <a:ext cx="0" cy="601341"/>
          </a:xfrm>
          <a:prstGeom prst="line">
            <a:avLst/>
          </a:prstGeom>
          <a:ln>
            <a:solidFill>
              <a:schemeClr val="accent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0A8A1C20-E675-8C07-6D76-D85BEF7A356F}"/>
              </a:ext>
            </a:extLst>
          </p:cNvPr>
          <p:cNvSpPr>
            <a:spLocks noGrp="1"/>
          </p:cNvSpPr>
          <p:nvPr>
            <p:ph type="title"/>
          </p:nvPr>
        </p:nvSpPr>
        <p:spPr>
          <a:xfrm>
            <a:off x="1217364" y="565723"/>
            <a:ext cx="10504735" cy="451866"/>
          </a:xfrm>
        </p:spPr>
        <p:txBody>
          <a:bodyPr vert="horz"/>
          <a:lstStyle/>
          <a:p>
            <a:r>
              <a:rPr lang="en-US" dirty="0"/>
              <a:t>Workloads and usage</a:t>
            </a:r>
          </a:p>
        </p:txBody>
      </p:sp>
      <p:sp>
        <p:nvSpPr>
          <p:cNvPr id="2" name="Rectangle 1">
            <a:extLst>
              <a:ext uri="{FF2B5EF4-FFF2-40B4-BE49-F238E27FC236}">
                <a16:creationId xmlns:a16="http://schemas.microsoft.com/office/drawing/2014/main" id="{28815EC0-05DC-BEEF-513D-F09851E7C945}"/>
              </a:ext>
            </a:extLst>
          </p:cNvPr>
          <p:cNvSpPr/>
          <p:nvPr/>
        </p:nvSpPr>
        <p:spPr bwMode="gray">
          <a:xfrm>
            <a:off x="0" y="1377827"/>
            <a:ext cx="12192000" cy="593187"/>
          </a:xfrm>
          <a:prstGeom prst="rect">
            <a:avLst/>
          </a:prstGeom>
          <a:solidFill>
            <a:srgbClr val="0097A9"/>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3" name="Rectangle 2">
            <a:extLst>
              <a:ext uri="{FF2B5EF4-FFF2-40B4-BE49-F238E27FC236}">
                <a16:creationId xmlns:a16="http://schemas.microsoft.com/office/drawing/2014/main" id="{26B6787D-0E1D-252E-AE92-4EEF3DA37771}"/>
              </a:ext>
            </a:extLst>
          </p:cNvPr>
          <p:cNvSpPr/>
          <p:nvPr/>
        </p:nvSpPr>
        <p:spPr bwMode="gray">
          <a:xfrm>
            <a:off x="517526" y="1529392"/>
            <a:ext cx="6493712" cy="246221"/>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Workloads running in the cloud</a:t>
            </a:r>
          </a:p>
        </p:txBody>
      </p:sp>
      <p:sp>
        <p:nvSpPr>
          <p:cNvPr id="4" name="Rectangle 3">
            <a:extLst>
              <a:ext uri="{FF2B5EF4-FFF2-40B4-BE49-F238E27FC236}">
                <a16:creationId xmlns:a16="http://schemas.microsoft.com/office/drawing/2014/main" id="{8F1AC519-C5A5-70A1-7265-9396F8BFB6C2}"/>
              </a:ext>
            </a:extLst>
          </p:cNvPr>
          <p:cNvSpPr/>
          <p:nvPr/>
        </p:nvSpPr>
        <p:spPr bwMode="gray">
          <a:xfrm>
            <a:off x="7693498" y="1406281"/>
            <a:ext cx="4028601" cy="492443"/>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Respondents’ retained standard </a:t>
            </a:r>
            <a:br>
              <a:rPr lang="en-US" sz="1600" b="1" dirty="0">
                <a:solidFill>
                  <a:schemeClr val="bg1"/>
                </a:solidFill>
              </a:rPr>
            </a:br>
            <a:r>
              <a:rPr lang="en-US" sz="1600" b="1" dirty="0">
                <a:solidFill>
                  <a:schemeClr val="bg1"/>
                </a:solidFill>
              </a:rPr>
              <a:t>cloud platform</a:t>
            </a:r>
          </a:p>
        </p:txBody>
      </p:sp>
      <p:cxnSp>
        <p:nvCxnSpPr>
          <p:cNvPr id="5" name="Straight Connector 4">
            <a:extLst>
              <a:ext uri="{FF2B5EF4-FFF2-40B4-BE49-F238E27FC236}">
                <a16:creationId xmlns:a16="http://schemas.microsoft.com/office/drawing/2014/main" id="{5FED3CA1-9A79-402D-7F24-9830FC6BDD33}"/>
              </a:ext>
            </a:extLst>
          </p:cNvPr>
          <p:cNvCxnSpPr>
            <a:cxnSpLocks/>
          </p:cNvCxnSpPr>
          <p:nvPr/>
        </p:nvCxnSpPr>
        <p:spPr>
          <a:xfrm>
            <a:off x="389467" y="1484436"/>
            <a:ext cx="0" cy="3466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DCF19CE-3C98-DF7A-71F3-CF94A427E642}"/>
              </a:ext>
            </a:extLst>
          </p:cNvPr>
          <p:cNvCxnSpPr>
            <a:cxnSpLocks/>
          </p:cNvCxnSpPr>
          <p:nvPr/>
        </p:nvCxnSpPr>
        <p:spPr>
          <a:xfrm>
            <a:off x="7558617" y="1484436"/>
            <a:ext cx="0" cy="3466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4592F2A-FBD9-9BAC-0537-399B4DFD173F}"/>
              </a:ext>
            </a:extLst>
          </p:cNvPr>
          <p:cNvSpPr/>
          <p:nvPr/>
        </p:nvSpPr>
        <p:spPr bwMode="gray">
          <a:xfrm>
            <a:off x="8975474" y="5678833"/>
            <a:ext cx="1247302" cy="153888"/>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rtl="0">
              <a:defRPr sz="1800" b="0" i="0" u="none" strike="noStrike" kern="1200" spc="0" baseline="0">
                <a:solidFill>
                  <a:prstClr val="black">
                    <a:lumMod val="65000"/>
                    <a:lumOff val="35000"/>
                  </a:prstClr>
                </a:solidFill>
                <a:latin typeface="+mn-lt"/>
                <a:ea typeface="+mn-ea"/>
                <a:cs typeface="+mn-cs"/>
              </a:defRPr>
            </a:pPr>
            <a:r>
              <a:rPr lang="en-US" sz="1000" dirty="0"/>
              <a:t># respondents</a:t>
            </a:r>
          </a:p>
        </p:txBody>
      </p:sp>
      <p:graphicFrame>
        <p:nvGraphicFramePr>
          <p:cNvPr id="8" name="Chart 7">
            <a:extLst>
              <a:ext uri="{FF2B5EF4-FFF2-40B4-BE49-F238E27FC236}">
                <a16:creationId xmlns:a16="http://schemas.microsoft.com/office/drawing/2014/main" id="{E42878A6-8F8D-42F9-D56D-FB50C0CEC45C}"/>
              </a:ext>
            </a:extLst>
          </p:cNvPr>
          <p:cNvGraphicFramePr/>
          <p:nvPr>
            <p:extLst>
              <p:ext uri="{D42A27DB-BD31-4B8C-83A1-F6EECF244321}">
                <p14:modId xmlns:p14="http://schemas.microsoft.com/office/powerpoint/2010/main" val="1959818547"/>
              </p:ext>
            </p:extLst>
          </p:nvPr>
        </p:nvGraphicFramePr>
        <p:xfrm>
          <a:off x="7425944" y="2080286"/>
          <a:ext cx="4346363" cy="42119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a:extLst>
              <a:ext uri="{FF2B5EF4-FFF2-40B4-BE49-F238E27FC236}">
                <a16:creationId xmlns:a16="http://schemas.microsoft.com/office/drawing/2014/main" id="{DAA5B65C-B7EC-BF12-86E6-CEAA27FF2FF1}"/>
              </a:ext>
            </a:extLst>
          </p:cNvPr>
          <p:cNvGraphicFramePr/>
          <p:nvPr>
            <p:extLst>
              <p:ext uri="{D42A27DB-BD31-4B8C-83A1-F6EECF244321}">
                <p14:modId xmlns:p14="http://schemas.microsoft.com/office/powerpoint/2010/main" val="605465602"/>
              </p:ext>
            </p:extLst>
          </p:nvPr>
        </p:nvGraphicFramePr>
        <p:xfrm>
          <a:off x="469900" y="2084079"/>
          <a:ext cx="6486143" cy="423960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30981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4B9623F1-07B0-5159-9671-57D6C3EF07CA}"/>
              </a:ext>
            </a:extLst>
          </p:cNvPr>
          <p:cNvGraphicFramePr>
            <a:graphicFrameLocks noChangeAspect="1"/>
          </p:cNvGraphicFramePr>
          <p:nvPr>
            <p:custDataLst>
              <p:tags r:id="rId1"/>
            </p:custDataLst>
            <p:extLst>
              <p:ext uri="{D42A27DB-BD31-4B8C-83A1-F6EECF244321}">
                <p14:modId xmlns:p14="http://schemas.microsoft.com/office/powerpoint/2010/main" val="1916931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3D5E0DCD-3C3E-F486-AA79-B64FF478EA02}"/>
              </a:ext>
            </a:extLst>
          </p:cNvPr>
          <p:cNvSpPr txBox="1">
            <a:spLocks/>
          </p:cNvSpPr>
          <p:nvPr/>
        </p:nvSpPr>
        <p:spPr>
          <a:xfrm>
            <a:off x="419693" y="304799"/>
            <a:ext cx="674101" cy="677108"/>
          </a:xfrm>
          <a:prstGeom prst="rect">
            <a:avLst/>
          </a:prstGeom>
          <a:noFill/>
        </p:spPr>
        <p:txBody>
          <a:bodyPr wrap="square" lIns="0" tIns="0" rIns="0" bIns="0" rtlCol="0" anchor="ctr">
            <a:spAutoFit/>
          </a:bodyPr>
          <a:lstStyle/>
          <a:p>
            <a:pPr marL="0" marR="0" lvl="0" indent="0" algn="r" defTabSz="914400" eaLnBrk="1" fontAlgn="auto" latinLnBrk="0" hangingPunct="1">
              <a:lnSpc>
                <a:spcPct val="100000"/>
              </a:lnSpc>
              <a:spcBef>
                <a:spcPts val="488"/>
              </a:spcBef>
              <a:spcAft>
                <a:spcPts val="0"/>
              </a:spcAft>
              <a:buClrTx/>
              <a:buSzPct val="100000"/>
              <a:buFontTx/>
              <a:buNone/>
              <a:tabLst/>
              <a:defRPr/>
            </a:pPr>
            <a:r>
              <a:rPr kumimoji="0" lang="en-US" sz="4400" b="1" i="0" u="none" strike="noStrike" kern="0" cap="none" spc="0" normalizeH="0" baseline="0" noProof="0">
                <a:ln>
                  <a:noFill/>
                </a:ln>
                <a:solidFill>
                  <a:schemeClr val="bg1"/>
                </a:solidFill>
                <a:effectLst/>
                <a:uLnTx/>
                <a:uFillTx/>
              </a:rPr>
              <a:t>04</a:t>
            </a:r>
            <a:endParaRPr kumimoji="0" lang="en-US" sz="4400" b="1" i="0" u="none" strike="noStrike" kern="0" cap="none" spc="0" normalizeH="0" baseline="0" noProof="0" dirty="0">
              <a:ln>
                <a:noFill/>
              </a:ln>
              <a:solidFill>
                <a:schemeClr val="bg1"/>
              </a:solidFill>
              <a:effectLst/>
              <a:uLnTx/>
              <a:uFillTx/>
            </a:endParaRPr>
          </a:p>
        </p:txBody>
      </p:sp>
      <p:sp>
        <p:nvSpPr>
          <p:cNvPr id="9" name="Chord 8">
            <a:extLst>
              <a:ext uri="{FF2B5EF4-FFF2-40B4-BE49-F238E27FC236}">
                <a16:creationId xmlns:a16="http://schemas.microsoft.com/office/drawing/2014/main" id="{C01C9779-CA12-89B0-2BF6-076CB20E46CE}"/>
              </a:ext>
            </a:extLst>
          </p:cNvPr>
          <p:cNvSpPr/>
          <p:nvPr/>
        </p:nvSpPr>
        <p:spPr bwMode="gray">
          <a:xfrm>
            <a:off x="844550" y="639488"/>
            <a:ext cx="376965" cy="362083"/>
          </a:xfrm>
          <a:prstGeom prst="chord">
            <a:avLst>
              <a:gd name="adj1" fmla="val 2700000"/>
              <a:gd name="adj2" fmla="val 18834732"/>
            </a:avLst>
          </a:prstGeom>
          <a:solidFill>
            <a:srgbClr val="FFFFFF">
              <a:alpha val="3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cxnSp>
        <p:nvCxnSpPr>
          <p:cNvPr id="11" name="Straight Connector 10">
            <a:extLst>
              <a:ext uri="{FF2B5EF4-FFF2-40B4-BE49-F238E27FC236}">
                <a16:creationId xmlns:a16="http://schemas.microsoft.com/office/drawing/2014/main" id="{CAA7F5B9-A7E2-9FA3-4417-16CA8221FD98}"/>
              </a:ext>
            </a:extLst>
          </p:cNvPr>
          <p:cNvCxnSpPr>
            <a:cxnSpLocks/>
          </p:cNvCxnSpPr>
          <p:nvPr/>
        </p:nvCxnSpPr>
        <p:spPr>
          <a:xfrm>
            <a:off x="1155579" y="380566"/>
            <a:ext cx="0" cy="601341"/>
          </a:xfrm>
          <a:prstGeom prst="line">
            <a:avLst/>
          </a:prstGeom>
          <a:ln>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0A8A1C20-E675-8C07-6D76-D85BEF7A356F}"/>
              </a:ext>
            </a:extLst>
          </p:cNvPr>
          <p:cNvSpPr>
            <a:spLocks noGrp="1"/>
          </p:cNvSpPr>
          <p:nvPr>
            <p:ph type="title"/>
          </p:nvPr>
        </p:nvSpPr>
        <p:spPr>
          <a:xfrm>
            <a:off x="1217364" y="565723"/>
            <a:ext cx="10504735" cy="451866"/>
          </a:xfrm>
        </p:spPr>
        <p:txBody>
          <a:bodyPr vert="horz"/>
          <a:lstStyle/>
          <a:p>
            <a:r>
              <a:rPr lang="en-US" dirty="0">
                <a:solidFill>
                  <a:schemeClr val="bg1"/>
                </a:solidFill>
              </a:rPr>
              <a:t>Workloads and usage</a:t>
            </a:r>
          </a:p>
        </p:txBody>
      </p:sp>
      <p:sp>
        <p:nvSpPr>
          <p:cNvPr id="20" name="Rectangle 19">
            <a:extLst>
              <a:ext uri="{FF2B5EF4-FFF2-40B4-BE49-F238E27FC236}">
                <a16:creationId xmlns:a16="http://schemas.microsoft.com/office/drawing/2014/main" id="{29460F69-615F-79C6-566E-CE04446CBCE4}"/>
              </a:ext>
            </a:extLst>
          </p:cNvPr>
          <p:cNvSpPr/>
          <p:nvPr/>
        </p:nvSpPr>
        <p:spPr bwMode="gray">
          <a:xfrm>
            <a:off x="472306" y="1184733"/>
            <a:ext cx="11249793" cy="276999"/>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b="1" dirty="0">
                <a:solidFill>
                  <a:schemeClr val="bg1"/>
                </a:solidFill>
              </a:rPr>
              <a:t>Respondents’ Cloud consumption and IT budget</a:t>
            </a:r>
          </a:p>
        </p:txBody>
      </p:sp>
      <p:cxnSp>
        <p:nvCxnSpPr>
          <p:cNvPr id="22" name="Straight Connector 21">
            <a:extLst>
              <a:ext uri="{FF2B5EF4-FFF2-40B4-BE49-F238E27FC236}">
                <a16:creationId xmlns:a16="http://schemas.microsoft.com/office/drawing/2014/main" id="{1666BB7E-30B0-2A74-3BB3-D70B1040B18C}"/>
              </a:ext>
            </a:extLst>
          </p:cNvPr>
          <p:cNvCxnSpPr>
            <a:cxnSpLocks/>
          </p:cNvCxnSpPr>
          <p:nvPr/>
        </p:nvCxnSpPr>
        <p:spPr>
          <a:xfrm>
            <a:off x="1066177" y="2072460"/>
            <a:ext cx="10156006" cy="0"/>
          </a:xfrm>
          <a:prstGeom prst="line">
            <a:avLst/>
          </a:prstGeom>
          <a:ln>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84E724CE-8775-641B-1D45-B431A717806D}"/>
              </a:ext>
            </a:extLst>
          </p:cNvPr>
          <p:cNvGrpSpPr/>
          <p:nvPr/>
        </p:nvGrpSpPr>
        <p:grpSpPr>
          <a:xfrm>
            <a:off x="2607536" y="1966224"/>
            <a:ext cx="9114564" cy="3359839"/>
            <a:chOff x="2459172" y="2198914"/>
            <a:chExt cx="9262927" cy="3744685"/>
          </a:xfrm>
        </p:grpSpPr>
        <p:cxnSp>
          <p:nvCxnSpPr>
            <p:cNvPr id="5" name="Straight Arrow Connector 4">
              <a:extLst>
                <a:ext uri="{FF2B5EF4-FFF2-40B4-BE49-F238E27FC236}">
                  <a16:creationId xmlns:a16="http://schemas.microsoft.com/office/drawing/2014/main" id="{0D6FA244-352F-5C4F-C11A-5B2C4A0F053D}"/>
                </a:ext>
              </a:extLst>
            </p:cNvPr>
            <p:cNvCxnSpPr>
              <a:cxnSpLocks/>
            </p:cNvCxnSpPr>
            <p:nvPr/>
          </p:nvCxnSpPr>
          <p:spPr>
            <a:xfrm flipV="1">
              <a:off x="2459172" y="2198914"/>
              <a:ext cx="0" cy="37446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0E895254-1193-5EBE-7B16-C5CD880FB6A9}"/>
                </a:ext>
              </a:extLst>
            </p:cNvPr>
            <p:cNvCxnSpPr>
              <a:cxnSpLocks/>
            </p:cNvCxnSpPr>
            <p:nvPr/>
          </p:nvCxnSpPr>
          <p:spPr>
            <a:xfrm>
              <a:off x="2459172" y="5943599"/>
              <a:ext cx="926292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01FFCF18-71D2-DC02-8CC9-709C7B4F359D}"/>
              </a:ext>
            </a:extLst>
          </p:cNvPr>
          <p:cNvGrpSpPr/>
          <p:nvPr/>
        </p:nvGrpSpPr>
        <p:grpSpPr>
          <a:xfrm>
            <a:off x="1066176" y="2135934"/>
            <a:ext cx="10655923" cy="2919707"/>
            <a:chOff x="1066177" y="2135934"/>
            <a:chExt cx="10153834" cy="2919707"/>
          </a:xfrm>
        </p:grpSpPr>
        <p:sp>
          <p:nvSpPr>
            <p:cNvPr id="49" name="Rectangle 48">
              <a:extLst>
                <a:ext uri="{FF2B5EF4-FFF2-40B4-BE49-F238E27FC236}">
                  <a16:creationId xmlns:a16="http://schemas.microsoft.com/office/drawing/2014/main" id="{18443490-F0FE-DD41-7BC1-8F7F7764AC8C}"/>
                </a:ext>
              </a:extLst>
            </p:cNvPr>
            <p:cNvSpPr/>
            <p:nvPr/>
          </p:nvSpPr>
          <p:spPr bwMode="gray">
            <a:xfrm>
              <a:off x="1066177" y="2135934"/>
              <a:ext cx="10153834" cy="401198"/>
            </a:xfrm>
            <a:prstGeom prst="rect">
              <a:avLst/>
            </a:prstGeom>
            <a:solidFill>
              <a:srgbClr val="FFFFFF">
                <a:alpha val="5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50" name="Rectangle 49">
              <a:extLst>
                <a:ext uri="{FF2B5EF4-FFF2-40B4-BE49-F238E27FC236}">
                  <a16:creationId xmlns:a16="http://schemas.microsoft.com/office/drawing/2014/main" id="{349F6801-D42F-A0B6-2989-B61770A3D8AC}"/>
                </a:ext>
              </a:extLst>
            </p:cNvPr>
            <p:cNvSpPr/>
            <p:nvPr/>
          </p:nvSpPr>
          <p:spPr bwMode="gray">
            <a:xfrm>
              <a:off x="1066177" y="2639242"/>
              <a:ext cx="10153834" cy="401198"/>
            </a:xfrm>
            <a:prstGeom prst="rect">
              <a:avLst/>
            </a:prstGeom>
            <a:solidFill>
              <a:srgbClr val="FFFFFF">
                <a:alpha val="5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51" name="Rectangle 50">
              <a:extLst>
                <a:ext uri="{FF2B5EF4-FFF2-40B4-BE49-F238E27FC236}">
                  <a16:creationId xmlns:a16="http://schemas.microsoft.com/office/drawing/2014/main" id="{589C5609-1E25-4F24-770E-4C46CDA9732B}"/>
                </a:ext>
              </a:extLst>
            </p:cNvPr>
            <p:cNvSpPr/>
            <p:nvPr/>
          </p:nvSpPr>
          <p:spPr bwMode="gray">
            <a:xfrm>
              <a:off x="1066177" y="3142550"/>
              <a:ext cx="10153834" cy="401198"/>
            </a:xfrm>
            <a:prstGeom prst="rect">
              <a:avLst/>
            </a:prstGeom>
            <a:solidFill>
              <a:srgbClr val="FFFFFF">
                <a:alpha val="5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52" name="Rectangle 51">
              <a:extLst>
                <a:ext uri="{FF2B5EF4-FFF2-40B4-BE49-F238E27FC236}">
                  <a16:creationId xmlns:a16="http://schemas.microsoft.com/office/drawing/2014/main" id="{A2FAD78E-3D0C-20FB-B1E3-1C3BD2D6D5E4}"/>
                </a:ext>
              </a:extLst>
            </p:cNvPr>
            <p:cNvSpPr/>
            <p:nvPr/>
          </p:nvSpPr>
          <p:spPr bwMode="gray">
            <a:xfrm>
              <a:off x="1066177" y="3645858"/>
              <a:ext cx="10153834" cy="401198"/>
            </a:xfrm>
            <a:prstGeom prst="rect">
              <a:avLst/>
            </a:prstGeom>
            <a:solidFill>
              <a:srgbClr val="FFFFFF">
                <a:alpha val="5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53" name="Rectangle 52">
              <a:extLst>
                <a:ext uri="{FF2B5EF4-FFF2-40B4-BE49-F238E27FC236}">
                  <a16:creationId xmlns:a16="http://schemas.microsoft.com/office/drawing/2014/main" id="{92CFF800-CCC3-49FD-2B95-40E18BCE0383}"/>
                </a:ext>
              </a:extLst>
            </p:cNvPr>
            <p:cNvSpPr/>
            <p:nvPr/>
          </p:nvSpPr>
          <p:spPr bwMode="gray">
            <a:xfrm>
              <a:off x="1066177" y="4149166"/>
              <a:ext cx="10153834" cy="401198"/>
            </a:xfrm>
            <a:prstGeom prst="rect">
              <a:avLst/>
            </a:prstGeom>
            <a:solidFill>
              <a:srgbClr val="FFFFFF">
                <a:alpha val="5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54" name="Rectangle 53">
              <a:extLst>
                <a:ext uri="{FF2B5EF4-FFF2-40B4-BE49-F238E27FC236}">
                  <a16:creationId xmlns:a16="http://schemas.microsoft.com/office/drawing/2014/main" id="{5144327A-6F93-2262-695C-EB98F759B9A8}"/>
                </a:ext>
              </a:extLst>
            </p:cNvPr>
            <p:cNvSpPr/>
            <p:nvPr/>
          </p:nvSpPr>
          <p:spPr bwMode="gray">
            <a:xfrm>
              <a:off x="1066177" y="4654443"/>
              <a:ext cx="10153834" cy="401198"/>
            </a:xfrm>
            <a:prstGeom prst="rect">
              <a:avLst/>
            </a:prstGeom>
            <a:solidFill>
              <a:srgbClr val="FFFFFF">
                <a:alpha val="50196"/>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grpSp>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CDBD8D3D-25F7-03EC-EAE4-EE731BDE4644}"/>
                  </a:ext>
                </a:extLst>
              </p:cNvPr>
              <p:cNvSpPr/>
              <p:nvPr/>
            </p:nvSpPr>
            <p:spPr bwMode="gray">
              <a:xfrm>
                <a:off x="1254024" y="2218893"/>
                <a:ext cx="1272664" cy="235279"/>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gt;10 M</a:t>
                </a:r>
                <a14:m>
                  <m:oMath xmlns:m="http://schemas.openxmlformats.org/officeDocument/2006/math">
                    <m:r>
                      <a:rPr lang="en-US" sz="1600" b="1" i="1" smtClean="0">
                        <a:solidFill>
                          <a:schemeClr val="bg1"/>
                        </a:solidFill>
                        <a:latin typeface="Cambria Math" panose="02040503050406030204" pitchFamily="18" charset="0"/>
                      </a:rPr>
                      <m:t>€</m:t>
                    </m:r>
                  </m:oMath>
                </a14:m>
                <a:endParaRPr lang="en-US" sz="1600" b="1" dirty="0">
                  <a:solidFill>
                    <a:schemeClr val="bg1"/>
                  </a:solidFill>
                </a:endParaRPr>
              </a:p>
            </p:txBody>
          </p:sp>
        </mc:Choice>
        <mc:Fallback xmlns="">
          <p:sp>
            <p:nvSpPr>
              <p:cNvPr id="17" name="Rectangle 16">
                <a:extLst>
                  <a:ext uri="{FF2B5EF4-FFF2-40B4-BE49-F238E27FC236}">
                    <a16:creationId xmlns:a16="http://schemas.microsoft.com/office/drawing/2014/main" id="{CDBD8D3D-25F7-03EC-EAE4-EE731BDE4644}"/>
                  </a:ext>
                </a:extLst>
              </p:cNvPr>
              <p:cNvSpPr>
                <a:spLocks noRot="1" noChangeAspect="1" noMove="1" noResize="1" noEditPoints="1" noAdjustHandles="1" noChangeArrowheads="1" noChangeShapeType="1" noTextEdit="1"/>
              </p:cNvSpPr>
              <p:nvPr/>
            </p:nvSpPr>
            <p:spPr bwMode="gray">
              <a:xfrm>
                <a:off x="1254024" y="2218893"/>
                <a:ext cx="1272664" cy="235279"/>
              </a:xfrm>
              <a:prstGeom prst="rect">
                <a:avLst/>
              </a:prstGeom>
              <a:blipFill>
                <a:blip r:embed="rId5"/>
                <a:stretch>
                  <a:fillRect t="-28205" r="-5769" b="-53846"/>
                </a:stretch>
              </a:blipFill>
              <a:ln w="19050" algn="ctr">
                <a:noFill/>
                <a:miter lim="800000"/>
                <a:headEnd/>
                <a:tailEn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83D71E25-002B-EACD-3293-CD369FEB24EF}"/>
                  </a:ext>
                </a:extLst>
              </p:cNvPr>
              <p:cNvSpPr/>
              <p:nvPr/>
            </p:nvSpPr>
            <p:spPr bwMode="gray">
              <a:xfrm>
                <a:off x="1254024" y="2722201"/>
                <a:ext cx="1272664" cy="235279"/>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7.5 to 10 M</a:t>
                </a:r>
                <a14:m>
                  <m:oMath xmlns:m="http://schemas.openxmlformats.org/officeDocument/2006/math">
                    <m:r>
                      <a:rPr lang="en-US" sz="1600" b="1" i="1" smtClean="0">
                        <a:solidFill>
                          <a:schemeClr val="bg1"/>
                        </a:solidFill>
                        <a:latin typeface="Cambria Math" panose="02040503050406030204" pitchFamily="18" charset="0"/>
                      </a:rPr>
                      <m:t>€</m:t>
                    </m:r>
                  </m:oMath>
                </a14:m>
                <a:endParaRPr lang="en-US" sz="1600" b="1" dirty="0">
                  <a:solidFill>
                    <a:schemeClr val="bg1"/>
                  </a:solidFill>
                </a:endParaRPr>
              </a:p>
            </p:txBody>
          </p:sp>
        </mc:Choice>
        <mc:Fallback xmlns="">
          <p:sp>
            <p:nvSpPr>
              <p:cNvPr id="18" name="Rectangle 17">
                <a:extLst>
                  <a:ext uri="{FF2B5EF4-FFF2-40B4-BE49-F238E27FC236}">
                    <a16:creationId xmlns:a16="http://schemas.microsoft.com/office/drawing/2014/main" id="{83D71E25-002B-EACD-3293-CD369FEB24EF}"/>
                  </a:ext>
                </a:extLst>
              </p:cNvPr>
              <p:cNvSpPr>
                <a:spLocks noRot="1" noChangeAspect="1" noMove="1" noResize="1" noEditPoints="1" noAdjustHandles="1" noChangeArrowheads="1" noChangeShapeType="1" noTextEdit="1"/>
              </p:cNvSpPr>
              <p:nvPr/>
            </p:nvSpPr>
            <p:spPr bwMode="gray">
              <a:xfrm>
                <a:off x="1254024" y="2722201"/>
                <a:ext cx="1272664" cy="235279"/>
              </a:xfrm>
              <a:prstGeom prst="rect">
                <a:avLst/>
              </a:prstGeom>
              <a:blipFill>
                <a:blip r:embed="rId6"/>
                <a:stretch>
                  <a:fillRect l="-5288" t="-31579" r="-5769" b="-55263"/>
                </a:stretch>
              </a:blipFill>
              <a:ln w="19050" algn="ctr">
                <a:noFill/>
                <a:miter lim="800000"/>
                <a:headEnd/>
                <a:tailEn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Rectangle 20">
                <a:extLst>
                  <a:ext uri="{FF2B5EF4-FFF2-40B4-BE49-F238E27FC236}">
                    <a16:creationId xmlns:a16="http://schemas.microsoft.com/office/drawing/2014/main" id="{F25CB85D-B41F-62B9-6F7B-435B8A8788F2}"/>
                  </a:ext>
                </a:extLst>
              </p:cNvPr>
              <p:cNvSpPr/>
              <p:nvPr/>
            </p:nvSpPr>
            <p:spPr bwMode="gray">
              <a:xfrm>
                <a:off x="1254024" y="3225509"/>
                <a:ext cx="1272664" cy="235279"/>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5 to 7.5 M</a:t>
                </a:r>
                <a14:m>
                  <m:oMath xmlns:m="http://schemas.openxmlformats.org/officeDocument/2006/math">
                    <m:r>
                      <a:rPr lang="en-US" sz="1600" b="1" i="1" smtClean="0">
                        <a:solidFill>
                          <a:schemeClr val="bg1"/>
                        </a:solidFill>
                        <a:latin typeface="Cambria Math" panose="02040503050406030204" pitchFamily="18" charset="0"/>
                      </a:rPr>
                      <m:t>€</m:t>
                    </m:r>
                  </m:oMath>
                </a14:m>
                <a:r>
                  <a:rPr lang="en-US" sz="1600" b="1" dirty="0">
                    <a:solidFill>
                      <a:schemeClr val="bg1"/>
                    </a:solidFill>
                  </a:rPr>
                  <a:t> </a:t>
                </a:r>
              </a:p>
            </p:txBody>
          </p:sp>
        </mc:Choice>
        <mc:Fallback xmlns="">
          <p:sp>
            <p:nvSpPr>
              <p:cNvPr id="21" name="Rectangle 20">
                <a:extLst>
                  <a:ext uri="{FF2B5EF4-FFF2-40B4-BE49-F238E27FC236}">
                    <a16:creationId xmlns:a16="http://schemas.microsoft.com/office/drawing/2014/main" id="{F25CB85D-B41F-62B9-6F7B-435B8A8788F2}"/>
                  </a:ext>
                </a:extLst>
              </p:cNvPr>
              <p:cNvSpPr>
                <a:spLocks noRot="1" noChangeAspect="1" noMove="1" noResize="1" noEditPoints="1" noAdjustHandles="1" noChangeArrowheads="1" noChangeShapeType="1" noTextEdit="1"/>
              </p:cNvSpPr>
              <p:nvPr/>
            </p:nvSpPr>
            <p:spPr bwMode="gray">
              <a:xfrm>
                <a:off x="1254024" y="3225509"/>
                <a:ext cx="1272664" cy="235279"/>
              </a:xfrm>
              <a:prstGeom prst="rect">
                <a:avLst/>
              </a:prstGeom>
              <a:blipFill>
                <a:blip r:embed="rId7"/>
                <a:stretch>
                  <a:fillRect t="-28205" r="-5769" b="-53846"/>
                </a:stretch>
              </a:blipFill>
              <a:ln w="19050" algn="ctr">
                <a:noFill/>
                <a:miter lim="800000"/>
                <a:headEnd/>
                <a:tailEn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Rectangle 22">
                <a:extLst>
                  <a:ext uri="{FF2B5EF4-FFF2-40B4-BE49-F238E27FC236}">
                    <a16:creationId xmlns:a16="http://schemas.microsoft.com/office/drawing/2014/main" id="{81EE0E23-831B-ED8A-5085-50A0C4879A9A}"/>
                  </a:ext>
                </a:extLst>
              </p:cNvPr>
              <p:cNvSpPr/>
              <p:nvPr/>
            </p:nvSpPr>
            <p:spPr bwMode="gray">
              <a:xfrm>
                <a:off x="1254024" y="3728817"/>
                <a:ext cx="1272664" cy="235279"/>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2.5 to 5 M</a:t>
                </a:r>
                <a14:m>
                  <m:oMath xmlns:m="http://schemas.openxmlformats.org/officeDocument/2006/math">
                    <m:r>
                      <a:rPr lang="en-US" sz="1600" b="1" i="1" smtClean="0">
                        <a:solidFill>
                          <a:schemeClr val="bg1"/>
                        </a:solidFill>
                        <a:latin typeface="Cambria Math" panose="02040503050406030204" pitchFamily="18" charset="0"/>
                      </a:rPr>
                      <m:t>€</m:t>
                    </m:r>
                  </m:oMath>
                </a14:m>
                <a:endParaRPr lang="en-US" sz="1600" b="1" dirty="0">
                  <a:solidFill>
                    <a:schemeClr val="bg1"/>
                  </a:solidFill>
                </a:endParaRPr>
              </a:p>
            </p:txBody>
          </p:sp>
        </mc:Choice>
        <mc:Fallback xmlns="">
          <p:sp>
            <p:nvSpPr>
              <p:cNvPr id="23" name="Rectangle 22">
                <a:extLst>
                  <a:ext uri="{FF2B5EF4-FFF2-40B4-BE49-F238E27FC236}">
                    <a16:creationId xmlns:a16="http://schemas.microsoft.com/office/drawing/2014/main" id="{81EE0E23-831B-ED8A-5085-50A0C4879A9A}"/>
                  </a:ext>
                </a:extLst>
              </p:cNvPr>
              <p:cNvSpPr>
                <a:spLocks noRot="1" noChangeAspect="1" noMove="1" noResize="1" noEditPoints="1" noAdjustHandles="1" noChangeArrowheads="1" noChangeShapeType="1" noTextEdit="1"/>
              </p:cNvSpPr>
              <p:nvPr/>
            </p:nvSpPr>
            <p:spPr bwMode="gray">
              <a:xfrm>
                <a:off x="1254024" y="3728817"/>
                <a:ext cx="1272664" cy="235279"/>
              </a:xfrm>
              <a:prstGeom prst="rect">
                <a:avLst/>
              </a:prstGeom>
              <a:blipFill>
                <a:blip r:embed="rId8"/>
                <a:stretch>
                  <a:fillRect t="-31579" r="-5769" b="-55263"/>
                </a:stretch>
              </a:blipFill>
              <a:ln w="19050" algn="ctr">
                <a:noFill/>
                <a:miter lim="800000"/>
                <a:headEnd/>
                <a:tailEn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Rectangle 23">
                <a:extLst>
                  <a:ext uri="{FF2B5EF4-FFF2-40B4-BE49-F238E27FC236}">
                    <a16:creationId xmlns:a16="http://schemas.microsoft.com/office/drawing/2014/main" id="{C5E5418F-17F4-4B9F-DD69-5754FBCBD094}"/>
                  </a:ext>
                </a:extLst>
              </p:cNvPr>
              <p:cNvSpPr/>
              <p:nvPr/>
            </p:nvSpPr>
            <p:spPr bwMode="gray">
              <a:xfrm>
                <a:off x="1254024" y="4232125"/>
                <a:ext cx="1272664" cy="235279"/>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1 to 2.5 M</a:t>
                </a:r>
                <a14:m>
                  <m:oMath xmlns:m="http://schemas.openxmlformats.org/officeDocument/2006/math">
                    <m:r>
                      <a:rPr lang="en-US" sz="1600" b="1" i="1" smtClean="0">
                        <a:solidFill>
                          <a:schemeClr val="bg1"/>
                        </a:solidFill>
                        <a:latin typeface="Cambria Math" panose="02040503050406030204" pitchFamily="18" charset="0"/>
                      </a:rPr>
                      <m:t>€</m:t>
                    </m:r>
                  </m:oMath>
                </a14:m>
                <a:endParaRPr lang="en-US" sz="1600" b="1" dirty="0">
                  <a:solidFill>
                    <a:schemeClr val="bg1"/>
                  </a:solidFill>
                </a:endParaRPr>
              </a:p>
            </p:txBody>
          </p:sp>
        </mc:Choice>
        <mc:Fallback xmlns="">
          <p:sp>
            <p:nvSpPr>
              <p:cNvPr id="24" name="Rectangle 23">
                <a:extLst>
                  <a:ext uri="{FF2B5EF4-FFF2-40B4-BE49-F238E27FC236}">
                    <a16:creationId xmlns:a16="http://schemas.microsoft.com/office/drawing/2014/main" id="{C5E5418F-17F4-4B9F-DD69-5754FBCBD094}"/>
                  </a:ext>
                </a:extLst>
              </p:cNvPr>
              <p:cNvSpPr>
                <a:spLocks noRot="1" noChangeAspect="1" noMove="1" noResize="1" noEditPoints="1" noAdjustHandles="1" noChangeArrowheads="1" noChangeShapeType="1" noTextEdit="1"/>
              </p:cNvSpPr>
              <p:nvPr/>
            </p:nvSpPr>
            <p:spPr bwMode="gray">
              <a:xfrm>
                <a:off x="1254024" y="4232125"/>
                <a:ext cx="1272664" cy="235279"/>
              </a:xfrm>
              <a:prstGeom prst="rect">
                <a:avLst/>
              </a:prstGeom>
              <a:blipFill>
                <a:blip r:embed="rId9"/>
                <a:stretch>
                  <a:fillRect t="-28205" r="-5769" b="-53846"/>
                </a:stretch>
              </a:blipFill>
              <a:ln w="19050" algn="ctr">
                <a:noFill/>
                <a:miter lim="800000"/>
                <a:headEnd/>
                <a:tailEn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Rectangle 24">
                <a:extLst>
                  <a:ext uri="{FF2B5EF4-FFF2-40B4-BE49-F238E27FC236}">
                    <a16:creationId xmlns:a16="http://schemas.microsoft.com/office/drawing/2014/main" id="{4696C51B-CEDB-6527-80D5-7303FBA9E5E9}"/>
                  </a:ext>
                </a:extLst>
              </p:cNvPr>
              <p:cNvSpPr/>
              <p:nvPr/>
            </p:nvSpPr>
            <p:spPr bwMode="gray">
              <a:xfrm>
                <a:off x="1254024" y="4735434"/>
                <a:ext cx="1272664" cy="235279"/>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lt;1 M</a:t>
                </a:r>
                <a14:m>
                  <m:oMath xmlns:m="http://schemas.openxmlformats.org/officeDocument/2006/math">
                    <m:r>
                      <a:rPr lang="en-US" sz="1600" b="1" i="1" smtClean="0">
                        <a:solidFill>
                          <a:schemeClr val="bg1"/>
                        </a:solidFill>
                        <a:latin typeface="Cambria Math" panose="02040503050406030204" pitchFamily="18" charset="0"/>
                      </a:rPr>
                      <m:t>€</m:t>
                    </m:r>
                  </m:oMath>
                </a14:m>
                <a:endParaRPr lang="en-US" sz="1600" b="1" dirty="0">
                  <a:solidFill>
                    <a:schemeClr val="bg1"/>
                  </a:solidFill>
                </a:endParaRPr>
              </a:p>
            </p:txBody>
          </p:sp>
        </mc:Choice>
        <mc:Fallback xmlns="">
          <p:sp>
            <p:nvSpPr>
              <p:cNvPr id="25" name="Rectangle 24">
                <a:extLst>
                  <a:ext uri="{FF2B5EF4-FFF2-40B4-BE49-F238E27FC236}">
                    <a16:creationId xmlns:a16="http://schemas.microsoft.com/office/drawing/2014/main" id="{4696C51B-CEDB-6527-80D5-7303FBA9E5E9}"/>
                  </a:ext>
                </a:extLst>
              </p:cNvPr>
              <p:cNvSpPr>
                <a:spLocks noRot="1" noChangeAspect="1" noMove="1" noResize="1" noEditPoints="1" noAdjustHandles="1" noChangeArrowheads="1" noChangeShapeType="1" noTextEdit="1"/>
              </p:cNvSpPr>
              <p:nvPr/>
            </p:nvSpPr>
            <p:spPr bwMode="gray">
              <a:xfrm>
                <a:off x="1254024" y="4735434"/>
                <a:ext cx="1272664" cy="235279"/>
              </a:xfrm>
              <a:prstGeom prst="rect">
                <a:avLst/>
              </a:prstGeom>
              <a:blipFill>
                <a:blip r:embed="rId10"/>
                <a:stretch>
                  <a:fillRect t="-28947" r="-5769" b="-57895"/>
                </a:stretch>
              </a:blipFill>
              <a:ln w="19050" algn="ctr">
                <a:noFill/>
                <a:miter lim="800000"/>
                <a:headEnd/>
                <a:tailEnd/>
              </a:ln>
            </p:spPr>
            <p:txBody>
              <a:bodyPr/>
              <a:lstStyle/>
              <a:p>
                <a:r>
                  <a:rPr lang="en-US">
                    <a:noFill/>
                  </a:rPr>
                  <a:t> </a:t>
                </a:r>
              </a:p>
            </p:txBody>
          </p:sp>
        </mc:Fallback>
      </mc:AlternateContent>
      <p:sp>
        <p:nvSpPr>
          <p:cNvPr id="61" name="Rectangle 60">
            <a:extLst>
              <a:ext uri="{FF2B5EF4-FFF2-40B4-BE49-F238E27FC236}">
                <a16:creationId xmlns:a16="http://schemas.microsoft.com/office/drawing/2014/main" id="{FE9A4602-9F34-42C2-22E8-619E02A030F6}"/>
              </a:ext>
            </a:extLst>
          </p:cNvPr>
          <p:cNvSpPr/>
          <p:nvPr/>
        </p:nvSpPr>
        <p:spPr bwMode="gray">
          <a:xfrm>
            <a:off x="2771101" y="1966223"/>
            <a:ext cx="1749676" cy="3918078"/>
          </a:xfrm>
          <a:prstGeom prst="rect">
            <a:avLst/>
          </a:prstGeom>
          <a:solidFill>
            <a:srgbClr val="6CB7B0">
              <a:alpha val="69804"/>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62" name="Rectangle 61">
            <a:extLst>
              <a:ext uri="{FF2B5EF4-FFF2-40B4-BE49-F238E27FC236}">
                <a16:creationId xmlns:a16="http://schemas.microsoft.com/office/drawing/2014/main" id="{5C1BA00F-BDAD-8577-4A74-A7003699D109}"/>
              </a:ext>
            </a:extLst>
          </p:cNvPr>
          <p:cNvSpPr/>
          <p:nvPr/>
        </p:nvSpPr>
        <p:spPr bwMode="gray">
          <a:xfrm>
            <a:off x="4861687" y="1966223"/>
            <a:ext cx="1749676" cy="3918078"/>
          </a:xfrm>
          <a:prstGeom prst="rect">
            <a:avLst/>
          </a:prstGeom>
          <a:solidFill>
            <a:srgbClr val="6CB7B0">
              <a:alpha val="69804"/>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63" name="Rectangle 62">
            <a:extLst>
              <a:ext uri="{FF2B5EF4-FFF2-40B4-BE49-F238E27FC236}">
                <a16:creationId xmlns:a16="http://schemas.microsoft.com/office/drawing/2014/main" id="{AEE7D095-3793-926E-81F2-2B1EC127ADA1}"/>
              </a:ext>
            </a:extLst>
          </p:cNvPr>
          <p:cNvSpPr/>
          <p:nvPr/>
        </p:nvSpPr>
        <p:spPr bwMode="gray">
          <a:xfrm>
            <a:off x="6952274" y="1966223"/>
            <a:ext cx="1749676" cy="3918078"/>
          </a:xfrm>
          <a:prstGeom prst="rect">
            <a:avLst/>
          </a:prstGeom>
          <a:solidFill>
            <a:srgbClr val="6CB7B0">
              <a:alpha val="69804"/>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64" name="Rectangle 63">
            <a:extLst>
              <a:ext uri="{FF2B5EF4-FFF2-40B4-BE49-F238E27FC236}">
                <a16:creationId xmlns:a16="http://schemas.microsoft.com/office/drawing/2014/main" id="{C0BBC81E-4477-AC58-2A4E-C95BF6C0BD98}"/>
              </a:ext>
            </a:extLst>
          </p:cNvPr>
          <p:cNvSpPr/>
          <p:nvPr/>
        </p:nvSpPr>
        <p:spPr bwMode="gray">
          <a:xfrm>
            <a:off x="9042861" y="1966223"/>
            <a:ext cx="1749239" cy="3918078"/>
          </a:xfrm>
          <a:prstGeom prst="rect">
            <a:avLst/>
          </a:prstGeom>
          <a:solidFill>
            <a:srgbClr val="6CB7B0">
              <a:alpha val="69804"/>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grpSp>
        <p:nvGrpSpPr>
          <p:cNvPr id="45" name="Graphic 4">
            <a:extLst>
              <a:ext uri="{FF2B5EF4-FFF2-40B4-BE49-F238E27FC236}">
                <a16:creationId xmlns:a16="http://schemas.microsoft.com/office/drawing/2014/main" id="{842E663F-9E0F-1FBA-3222-3F1F43E1DDCB}"/>
              </a:ext>
            </a:extLst>
          </p:cNvPr>
          <p:cNvGrpSpPr>
            <a:grpSpLocks noChangeAspect="1"/>
          </p:cNvGrpSpPr>
          <p:nvPr/>
        </p:nvGrpSpPr>
        <p:grpSpPr>
          <a:xfrm>
            <a:off x="3496533" y="4200499"/>
            <a:ext cx="298812" cy="298530"/>
            <a:chOff x="1952125" y="1885990"/>
            <a:chExt cx="362313" cy="361971"/>
          </a:xfrm>
          <a:solidFill>
            <a:schemeClr val="bg1"/>
          </a:solidFill>
        </p:grpSpPr>
        <p:sp>
          <p:nvSpPr>
            <p:cNvPr id="46" name="Graphic 4">
              <a:extLst>
                <a:ext uri="{FF2B5EF4-FFF2-40B4-BE49-F238E27FC236}">
                  <a16:creationId xmlns:a16="http://schemas.microsoft.com/office/drawing/2014/main" id="{EDB4E75B-0002-01FD-6431-1FCE34EC8BD8}"/>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47" name="Graphic 4">
              <a:extLst>
                <a:ext uri="{FF2B5EF4-FFF2-40B4-BE49-F238E27FC236}">
                  <a16:creationId xmlns:a16="http://schemas.microsoft.com/office/drawing/2014/main" id="{F6D8704A-FF20-EEA0-1454-33E63D92CDFD}"/>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48" name="Graphic 4">
              <a:extLst>
                <a:ext uri="{FF2B5EF4-FFF2-40B4-BE49-F238E27FC236}">
                  <a16:creationId xmlns:a16="http://schemas.microsoft.com/office/drawing/2014/main" id="{034CB8A3-AB8D-6AE3-91C7-0CCD52907ED9}"/>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68" name="Graphic 4">
            <a:extLst>
              <a:ext uri="{FF2B5EF4-FFF2-40B4-BE49-F238E27FC236}">
                <a16:creationId xmlns:a16="http://schemas.microsoft.com/office/drawing/2014/main" id="{65B190F8-0686-9F8A-4136-7E7567238FB2}"/>
              </a:ext>
            </a:extLst>
          </p:cNvPr>
          <p:cNvGrpSpPr>
            <a:grpSpLocks noChangeAspect="1"/>
          </p:cNvGrpSpPr>
          <p:nvPr/>
        </p:nvGrpSpPr>
        <p:grpSpPr>
          <a:xfrm>
            <a:off x="2853905" y="4705777"/>
            <a:ext cx="298812" cy="298530"/>
            <a:chOff x="1952125" y="1885990"/>
            <a:chExt cx="362313" cy="361971"/>
          </a:xfrm>
          <a:solidFill>
            <a:schemeClr val="bg1"/>
          </a:solidFill>
        </p:grpSpPr>
        <p:sp>
          <p:nvSpPr>
            <p:cNvPr id="69" name="Graphic 4">
              <a:extLst>
                <a:ext uri="{FF2B5EF4-FFF2-40B4-BE49-F238E27FC236}">
                  <a16:creationId xmlns:a16="http://schemas.microsoft.com/office/drawing/2014/main" id="{5AB6B873-89A7-5C29-D6A8-D3486D594555}"/>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70" name="Graphic 4">
              <a:extLst>
                <a:ext uri="{FF2B5EF4-FFF2-40B4-BE49-F238E27FC236}">
                  <a16:creationId xmlns:a16="http://schemas.microsoft.com/office/drawing/2014/main" id="{259467DF-A2E8-DBC8-E4C2-B5E973AC3C05}"/>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71" name="Graphic 4">
              <a:extLst>
                <a:ext uri="{FF2B5EF4-FFF2-40B4-BE49-F238E27FC236}">
                  <a16:creationId xmlns:a16="http://schemas.microsoft.com/office/drawing/2014/main" id="{23653DD0-E7E1-8965-54EC-A46A5726550E}"/>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72" name="Graphic 4">
            <a:extLst>
              <a:ext uri="{FF2B5EF4-FFF2-40B4-BE49-F238E27FC236}">
                <a16:creationId xmlns:a16="http://schemas.microsoft.com/office/drawing/2014/main" id="{013ADEC4-F739-C76C-49F5-A960803C73E0}"/>
              </a:ext>
            </a:extLst>
          </p:cNvPr>
          <p:cNvGrpSpPr>
            <a:grpSpLocks noChangeAspect="1"/>
          </p:cNvGrpSpPr>
          <p:nvPr/>
        </p:nvGrpSpPr>
        <p:grpSpPr>
          <a:xfrm>
            <a:off x="3272331" y="4705777"/>
            <a:ext cx="298812" cy="298530"/>
            <a:chOff x="1952125" y="1885990"/>
            <a:chExt cx="362313" cy="361971"/>
          </a:xfrm>
          <a:solidFill>
            <a:schemeClr val="bg1"/>
          </a:solidFill>
        </p:grpSpPr>
        <p:sp>
          <p:nvSpPr>
            <p:cNvPr id="73" name="Graphic 4">
              <a:extLst>
                <a:ext uri="{FF2B5EF4-FFF2-40B4-BE49-F238E27FC236}">
                  <a16:creationId xmlns:a16="http://schemas.microsoft.com/office/drawing/2014/main" id="{96290023-BB3A-1AB0-F98E-19EE51F0F913}"/>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74" name="Graphic 4">
              <a:extLst>
                <a:ext uri="{FF2B5EF4-FFF2-40B4-BE49-F238E27FC236}">
                  <a16:creationId xmlns:a16="http://schemas.microsoft.com/office/drawing/2014/main" id="{9C1AD8D8-8EE1-1CD1-4626-3BAA6695C2C6}"/>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75" name="Graphic 4">
              <a:extLst>
                <a:ext uri="{FF2B5EF4-FFF2-40B4-BE49-F238E27FC236}">
                  <a16:creationId xmlns:a16="http://schemas.microsoft.com/office/drawing/2014/main" id="{4A673212-9C98-DD4B-63B4-84688E0D520E}"/>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76" name="Graphic 4">
            <a:extLst>
              <a:ext uri="{FF2B5EF4-FFF2-40B4-BE49-F238E27FC236}">
                <a16:creationId xmlns:a16="http://schemas.microsoft.com/office/drawing/2014/main" id="{EF74DB71-D737-D759-9CC4-B2A88299E0F7}"/>
              </a:ext>
            </a:extLst>
          </p:cNvPr>
          <p:cNvGrpSpPr>
            <a:grpSpLocks noChangeAspect="1"/>
          </p:cNvGrpSpPr>
          <p:nvPr/>
        </p:nvGrpSpPr>
        <p:grpSpPr>
          <a:xfrm>
            <a:off x="3690758" y="4705777"/>
            <a:ext cx="298812" cy="298530"/>
            <a:chOff x="1952125" y="1885990"/>
            <a:chExt cx="362313" cy="361971"/>
          </a:xfrm>
          <a:solidFill>
            <a:schemeClr val="bg1"/>
          </a:solidFill>
        </p:grpSpPr>
        <p:sp>
          <p:nvSpPr>
            <p:cNvPr id="77" name="Graphic 4">
              <a:extLst>
                <a:ext uri="{FF2B5EF4-FFF2-40B4-BE49-F238E27FC236}">
                  <a16:creationId xmlns:a16="http://schemas.microsoft.com/office/drawing/2014/main" id="{1159A814-D877-36AB-6085-1D86C99FE6E2}"/>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78" name="Graphic 4">
              <a:extLst>
                <a:ext uri="{FF2B5EF4-FFF2-40B4-BE49-F238E27FC236}">
                  <a16:creationId xmlns:a16="http://schemas.microsoft.com/office/drawing/2014/main" id="{787FC739-2910-E1B2-827B-AEFB99F4BEB0}"/>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79" name="Graphic 4">
              <a:extLst>
                <a:ext uri="{FF2B5EF4-FFF2-40B4-BE49-F238E27FC236}">
                  <a16:creationId xmlns:a16="http://schemas.microsoft.com/office/drawing/2014/main" id="{B5991A7E-0766-9EFA-27DF-A4C410B64742}"/>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80" name="Graphic 4">
            <a:extLst>
              <a:ext uri="{FF2B5EF4-FFF2-40B4-BE49-F238E27FC236}">
                <a16:creationId xmlns:a16="http://schemas.microsoft.com/office/drawing/2014/main" id="{D6D56AD5-17BF-3CFA-543B-5908C3EE8AB9}"/>
              </a:ext>
            </a:extLst>
          </p:cNvPr>
          <p:cNvGrpSpPr>
            <a:grpSpLocks noChangeAspect="1"/>
          </p:cNvGrpSpPr>
          <p:nvPr/>
        </p:nvGrpSpPr>
        <p:grpSpPr>
          <a:xfrm>
            <a:off x="4109183" y="4705777"/>
            <a:ext cx="298812" cy="298530"/>
            <a:chOff x="1952125" y="1885990"/>
            <a:chExt cx="362313" cy="361971"/>
          </a:xfrm>
          <a:solidFill>
            <a:schemeClr val="bg1"/>
          </a:solidFill>
        </p:grpSpPr>
        <p:sp>
          <p:nvSpPr>
            <p:cNvPr id="81" name="Graphic 4">
              <a:extLst>
                <a:ext uri="{FF2B5EF4-FFF2-40B4-BE49-F238E27FC236}">
                  <a16:creationId xmlns:a16="http://schemas.microsoft.com/office/drawing/2014/main" id="{66EC21D1-41C5-63C2-252A-8C3E9E219DBB}"/>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82" name="Graphic 4">
              <a:extLst>
                <a:ext uri="{FF2B5EF4-FFF2-40B4-BE49-F238E27FC236}">
                  <a16:creationId xmlns:a16="http://schemas.microsoft.com/office/drawing/2014/main" id="{DC365AE2-9B19-F4C4-2D5B-E687DDA6737A}"/>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12B3D576-4110-8E4E-C165-0C11D22BED4D}"/>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97" name="Group 96">
            <a:extLst>
              <a:ext uri="{FF2B5EF4-FFF2-40B4-BE49-F238E27FC236}">
                <a16:creationId xmlns:a16="http://schemas.microsoft.com/office/drawing/2014/main" id="{0CCF1769-1F98-59F8-A12B-926D7B3D70AE}"/>
              </a:ext>
            </a:extLst>
          </p:cNvPr>
          <p:cNvGrpSpPr/>
          <p:nvPr/>
        </p:nvGrpSpPr>
        <p:grpSpPr>
          <a:xfrm>
            <a:off x="5328415" y="3697190"/>
            <a:ext cx="816221" cy="298530"/>
            <a:chOff x="5554245" y="4010379"/>
            <a:chExt cx="854179" cy="312413"/>
          </a:xfrm>
        </p:grpSpPr>
        <p:grpSp>
          <p:nvGrpSpPr>
            <p:cNvPr id="84" name="Graphic 4">
              <a:extLst>
                <a:ext uri="{FF2B5EF4-FFF2-40B4-BE49-F238E27FC236}">
                  <a16:creationId xmlns:a16="http://schemas.microsoft.com/office/drawing/2014/main" id="{F50C6B36-1C6D-B663-66D0-AB39F5AB0F59}"/>
                </a:ext>
              </a:extLst>
            </p:cNvPr>
            <p:cNvGrpSpPr>
              <a:grpSpLocks noChangeAspect="1"/>
            </p:cNvGrpSpPr>
            <p:nvPr/>
          </p:nvGrpSpPr>
          <p:grpSpPr>
            <a:xfrm>
              <a:off x="5554245" y="4010379"/>
              <a:ext cx="312708" cy="312413"/>
              <a:chOff x="1952125" y="1885990"/>
              <a:chExt cx="362313" cy="361971"/>
            </a:xfrm>
            <a:solidFill>
              <a:schemeClr val="bg1"/>
            </a:solidFill>
          </p:grpSpPr>
          <p:sp>
            <p:nvSpPr>
              <p:cNvPr id="85" name="Graphic 4">
                <a:extLst>
                  <a:ext uri="{FF2B5EF4-FFF2-40B4-BE49-F238E27FC236}">
                    <a16:creationId xmlns:a16="http://schemas.microsoft.com/office/drawing/2014/main" id="{DECC3103-C379-5C31-CF83-1098BE289EED}"/>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86" name="Graphic 4">
                <a:extLst>
                  <a:ext uri="{FF2B5EF4-FFF2-40B4-BE49-F238E27FC236}">
                    <a16:creationId xmlns:a16="http://schemas.microsoft.com/office/drawing/2014/main" id="{CCAADE1F-D929-C9A0-01D3-2B074BF64E69}"/>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87" name="Graphic 4">
                <a:extLst>
                  <a:ext uri="{FF2B5EF4-FFF2-40B4-BE49-F238E27FC236}">
                    <a16:creationId xmlns:a16="http://schemas.microsoft.com/office/drawing/2014/main" id="{AB334A7D-23EF-A38A-5792-607B72DAD08A}"/>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88" name="Graphic 4">
              <a:extLst>
                <a:ext uri="{FF2B5EF4-FFF2-40B4-BE49-F238E27FC236}">
                  <a16:creationId xmlns:a16="http://schemas.microsoft.com/office/drawing/2014/main" id="{EA31E149-A173-7168-C488-4E45EF9AF8F4}"/>
                </a:ext>
              </a:extLst>
            </p:cNvPr>
            <p:cNvGrpSpPr>
              <a:grpSpLocks noChangeAspect="1"/>
            </p:cNvGrpSpPr>
            <p:nvPr/>
          </p:nvGrpSpPr>
          <p:grpSpPr>
            <a:xfrm>
              <a:off x="6095716" y="4010379"/>
              <a:ext cx="312708" cy="312413"/>
              <a:chOff x="1952125" y="1885990"/>
              <a:chExt cx="362313" cy="361971"/>
            </a:xfrm>
            <a:solidFill>
              <a:schemeClr val="bg1"/>
            </a:solidFill>
          </p:grpSpPr>
          <p:sp>
            <p:nvSpPr>
              <p:cNvPr id="89" name="Graphic 4">
                <a:extLst>
                  <a:ext uri="{FF2B5EF4-FFF2-40B4-BE49-F238E27FC236}">
                    <a16:creationId xmlns:a16="http://schemas.microsoft.com/office/drawing/2014/main" id="{B6EED174-0B8E-0FB9-9FCE-7C41AA692022}"/>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D1B87973-E496-989A-8031-C9B876C50797}"/>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91" name="Graphic 4">
                <a:extLst>
                  <a:ext uri="{FF2B5EF4-FFF2-40B4-BE49-F238E27FC236}">
                    <a16:creationId xmlns:a16="http://schemas.microsoft.com/office/drawing/2014/main" id="{0802B941-6734-095D-5ADD-A58E4D93DDE6}"/>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grpSp>
        <p:nvGrpSpPr>
          <p:cNvPr id="93" name="Graphic 4">
            <a:extLst>
              <a:ext uri="{FF2B5EF4-FFF2-40B4-BE49-F238E27FC236}">
                <a16:creationId xmlns:a16="http://schemas.microsoft.com/office/drawing/2014/main" id="{D96DCC45-B279-F060-C243-5079B37DE92D}"/>
              </a:ext>
            </a:extLst>
          </p:cNvPr>
          <p:cNvGrpSpPr>
            <a:grpSpLocks noChangeAspect="1"/>
          </p:cNvGrpSpPr>
          <p:nvPr/>
        </p:nvGrpSpPr>
        <p:grpSpPr>
          <a:xfrm>
            <a:off x="5587119" y="4200499"/>
            <a:ext cx="298812" cy="298530"/>
            <a:chOff x="1952125" y="1885990"/>
            <a:chExt cx="362313" cy="361971"/>
          </a:xfrm>
          <a:solidFill>
            <a:schemeClr val="bg1"/>
          </a:solidFill>
        </p:grpSpPr>
        <p:sp>
          <p:nvSpPr>
            <p:cNvPr id="94" name="Graphic 4">
              <a:extLst>
                <a:ext uri="{FF2B5EF4-FFF2-40B4-BE49-F238E27FC236}">
                  <a16:creationId xmlns:a16="http://schemas.microsoft.com/office/drawing/2014/main" id="{6E88D979-5669-49AC-55EC-43A9F67E847A}"/>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95" name="Graphic 4">
              <a:extLst>
                <a:ext uri="{FF2B5EF4-FFF2-40B4-BE49-F238E27FC236}">
                  <a16:creationId xmlns:a16="http://schemas.microsoft.com/office/drawing/2014/main" id="{FBC4EB24-C5DC-1523-DEFC-3BF978100836}"/>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96" name="Graphic 4">
              <a:extLst>
                <a:ext uri="{FF2B5EF4-FFF2-40B4-BE49-F238E27FC236}">
                  <a16:creationId xmlns:a16="http://schemas.microsoft.com/office/drawing/2014/main" id="{4F56C726-B541-09B4-2D5C-2A47B5B34DD5}"/>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32C9453A-C9B8-10F9-0A25-A080B144EB27}"/>
              </a:ext>
            </a:extLst>
          </p:cNvPr>
          <p:cNvGrpSpPr/>
          <p:nvPr/>
        </p:nvGrpSpPr>
        <p:grpSpPr>
          <a:xfrm>
            <a:off x="7419002" y="2192467"/>
            <a:ext cx="816221" cy="298530"/>
            <a:chOff x="7344077" y="1988587"/>
            <a:chExt cx="854179" cy="312413"/>
          </a:xfrm>
        </p:grpSpPr>
        <p:grpSp>
          <p:nvGrpSpPr>
            <p:cNvPr id="99" name="Graphic 4">
              <a:extLst>
                <a:ext uri="{FF2B5EF4-FFF2-40B4-BE49-F238E27FC236}">
                  <a16:creationId xmlns:a16="http://schemas.microsoft.com/office/drawing/2014/main" id="{ED00E2AC-B7A5-A03A-60F6-14DACE2A26D4}"/>
                </a:ext>
              </a:extLst>
            </p:cNvPr>
            <p:cNvGrpSpPr>
              <a:grpSpLocks noChangeAspect="1"/>
            </p:cNvGrpSpPr>
            <p:nvPr/>
          </p:nvGrpSpPr>
          <p:grpSpPr>
            <a:xfrm>
              <a:off x="7344077" y="1988587"/>
              <a:ext cx="312708" cy="312413"/>
              <a:chOff x="1952125" y="1885990"/>
              <a:chExt cx="362313" cy="361971"/>
            </a:xfrm>
            <a:solidFill>
              <a:schemeClr val="bg1"/>
            </a:solidFill>
          </p:grpSpPr>
          <p:sp>
            <p:nvSpPr>
              <p:cNvPr id="104" name="Graphic 4">
                <a:extLst>
                  <a:ext uri="{FF2B5EF4-FFF2-40B4-BE49-F238E27FC236}">
                    <a16:creationId xmlns:a16="http://schemas.microsoft.com/office/drawing/2014/main" id="{B021AFC4-DEB0-9C56-6998-9FBDDE9A06DD}"/>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105" name="Graphic 4">
                <a:extLst>
                  <a:ext uri="{FF2B5EF4-FFF2-40B4-BE49-F238E27FC236}">
                    <a16:creationId xmlns:a16="http://schemas.microsoft.com/office/drawing/2014/main" id="{E1DC43C2-0D6E-8D58-5649-BA30F3C4C3DF}"/>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106" name="Graphic 4">
                <a:extLst>
                  <a:ext uri="{FF2B5EF4-FFF2-40B4-BE49-F238E27FC236}">
                    <a16:creationId xmlns:a16="http://schemas.microsoft.com/office/drawing/2014/main" id="{D339B828-40FD-4303-AE4B-8C3E9F4125F8}"/>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100" name="Graphic 4">
              <a:extLst>
                <a:ext uri="{FF2B5EF4-FFF2-40B4-BE49-F238E27FC236}">
                  <a16:creationId xmlns:a16="http://schemas.microsoft.com/office/drawing/2014/main" id="{D7FAB36C-6F4E-AA3F-D48E-6891C96E63DF}"/>
                </a:ext>
              </a:extLst>
            </p:cNvPr>
            <p:cNvGrpSpPr>
              <a:grpSpLocks noChangeAspect="1"/>
            </p:cNvGrpSpPr>
            <p:nvPr/>
          </p:nvGrpSpPr>
          <p:grpSpPr>
            <a:xfrm>
              <a:off x="7885548" y="1988587"/>
              <a:ext cx="312708" cy="312413"/>
              <a:chOff x="1952125" y="1885990"/>
              <a:chExt cx="362313" cy="361971"/>
            </a:xfrm>
            <a:solidFill>
              <a:schemeClr val="bg1"/>
            </a:solidFill>
          </p:grpSpPr>
          <p:sp>
            <p:nvSpPr>
              <p:cNvPr id="101" name="Graphic 4">
                <a:extLst>
                  <a:ext uri="{FF2B5EF4-FFF2-40B4-BE49-F238E27FC236}">
                    <a16:creationId xmlns:a16="http://schemas.microsoft.com/office/drawing/2014/main" id="{075D072B-C0D9-E0A0-C518-8B3A551A7F05}"/>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102" name="Graphic 4">
                <a:extLst>
                  <a:ext uri="{FF2B5EF4-FFF2-40B4-BE49-F238E27FC236}">
                    <a16:creationId xmlns:a16="http://schemas.microsoft.com/office/drawing/2014/main" id="{4A60F6F2-A549-4D91-C4D4-199F26F47B3D}"/>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103" name="Graphic 4">
                <a:extLst>
                  <a:ext uri="{FF2B5EF4-FFF2-40B4-BE49-F238E27FC236}">
                    <a16:creationId xmlns:a16="http://schemas.microsoft.com/office/drawing/2014/main" id="{5252FD83-AAE9-AF97-E69C-D7C8F9D71134}"/>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grpSp>
        <p:nvGrpSpPr>
          <p:cNvPr id="107" name="Graphic 4">
            <a:extLst>
              <a:ext uri="{FF2B5EF4-FFF2-40B4-BE49-F238E27FC236}">
                <a16:creationId xmlns:a16="http://schemas.microsoft.com/office/drawing/2014/main" id="{3760E0FD-A5FD-7EF0-31F6-4DE5A0E9E35A}"/>
              </a:ext>
            </a:extLst>
          </p:cNvPr>
          <p:cNvGrpSpPr>
            <a:grpSpLocks noChangeAspect="1"/>
          </p:cNvGrpSpPr>
          <p:nvPr/>
        </p:nvGrpSpPr>
        <p:grpSpPr>
          <a:xfrm>
            <a:off x="7677706" y="2690574"/>
            <a:ext cx="298812" cy="298530"/>
            <a:chOff x="1952125" y="1885990"/>
            <a:chExt cx="362313" cy="361971"/>
          </a:xfrm>
          <a:solidFill>
            <a:schemeClr val="bg1"/>
          </a:solidFill>
        </p:grpSpPr>
        <p:sp>
          <p:nvSpPr>
            <p:cNvPr id="108" name="Graphic 4">
              <a:extLst>
                <a:ext uri="{FF2B5EF4-FFF2-40B4-BE49-F238E27FC236}">
                  <a16:creationId xmlns:a16="http://schemas.microsoft.com/office/drawing/2014/main" id="{B5099644-12EC-5312-F8D0-A8E5F0624A3A}"/>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109" name="Graphic 4">
              <a:extLst>
                <a:ext uri="{FF2B5EF4-FFF2-40B4-BE49-F238E27FC236}">
                  <a16:creationId xmlns:a16="http://schemas.microsoft.com/office/drawing/2014/main" id="{1FB6552A-504E-FDDE-057E-05DBCABA6500}"/>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110" name="Graphic 4">
              <a:extLst>
                <a:ext uri="{FF2B5EF4-FFF2-40B4-BE49-F238E27FC236}">
                  <a16:creationId xmlns:a16="http://schemas.microsoft.com/office/drawing/2014/main" id="{1FB7975E-7CB6-66C0-2D9F-3AA1DE21B399}"/>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111" name="Graphic 4">
            <a:extLst>
              <a:ext uri="{FF2B5EF4-FFF2-40B4-BE49-F238E27FC236}">
                <a16:creationId xmlns:a16="http://schemas.microsoft.com/office/drawing/2014/main" id="{A3D0646B-AE6D-8709-2BB7-52F9646B66E4}"/>
              </a:ext>
            </a:extLst>
          </p:cNvPr>
          <p:cNvGrpSpPr>
            <a:grpSpLocks noChangeAspect="1"/>
          </p:cNvGrpSpPr>
          <p:nvPr/>
        </p:nvGrpSpPr>
        <p:grpSpPr>
          <a:xfrm>
            <a:off x="7677706" y="3193883"/>
            <a:ext cx="298812" cy="298530"/>
            <a:chOff x="1952125" y="1885990"/>
            <a:chExt cx="362313" cy="361971"/>
          </a:xfrm>
          <a:solidFill>
            <a:schemeClr val="bg1"/>
          </a:solidFill>
        </p:grpSpPr>
        <p:sp>
          <p:nvSpPr>
            <p:cNvPr id="112" name="Graphic 4">
              <a:extLst>
                <a:ext uri="{FF2B5EF4-FFF2-40B4-BE49-F238E27FC236}">
                  <a16:creationId xmlns:a16="http://schemas.microsoft.com/office/drawing/2014/main" id="{257140A4-3B6A-8C3F-412E-C0338A5B8664}"/>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113" name="Graphic 4">
              <a:extLst>
                <a:ext uri="{FF2B5EF4-FFF2-40B4-BE49-F238E27FC236}">
                  <a16:creationId xmlns:a16="http://schemas.microsoft.com/office/drawing/2014/main" id="{3839DF5C-9771-8BC8-D751-FBA26D995610}"/>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114" name="Graphic 4">
              <a:extLst>
                <a:ext uri="{FF2B5EF4-FFF2-40B4-BE49-F238E27FC236}">
                  <a16:creationId xmlns:a16="http://schemas.microsoft.com/office/drawing/2014/main" id="{FF1D7B87-C948-250A-30E5-1F7605F5A851}"/>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116" name="Graphic 4">
            <a:extLst>
              <a:ext uri="{FF2B5EF4-FFF2-40B4-BE49-F238E27FC236}">
                <a16:creationId xmlns:a16="http://schemas.microsoft.com/office/drawing/2014/main" id="{908B032D-7E39-791E-4AB8-984EBE4B22E6}"/>
              </a:ext>
            </a:extLst>
          </p:cNvPr>
          <p:cNvGrpSpPr>
            <a:grpSpLocks noChangeAspect="1"/>
          </p:cNvGrpSpPr>
          <p:nvPr/>
        </p:nvGrpSpPr>
        <p:grpSpPr>
          <a:xfrm>
            <a:off x="7677706" y="4705777"/>
            <a:ext cx="298812" cy="298530"/>
            <a:chOff x="1952125" y="1885990"/>
            <a:chExt cx="362313" cy="361971"/>
          </a:xfrm>
          <a:solidFill>
            <a:schemeClr val="bg1"/>
          </a:solidFill>
        </p:grpSpPr>
        <p:sp>
          <p:nvSpPr>
            <p:cNvPr id="117" name="Graphic 4">
              <a:extLst>
                <a:ext uri="{FF2B5EF4-FFF2-40B4-BE49-F238E27FC236}">
                  <a16:creationId xmlns:a16="http://schemas.microsoft.com/office/drawing/2014/main" id="{AB2FCC8D-0F34-5369-B117-C02D2DB8F59F}"/>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118" name="Graphic 4">
              <a:extLst>
                <a:ext uri="{FF2B5EF4-FFF2-40B4-BE49-F238E27FC236}">
                  <a16:creationId xmlns:a16="http://schemas.microsoft.com/office/drawing/2014/main" id="{6A7C8ACD-A729-F76E-539F-56BDF42EA8D2}"/>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119" name="Graphic 4">
              <a:extLst>
                <a:ext uri="{FF2B5EF4-FFF2-40B4-BE49-F238E27FC236}">
                  <a16:creationId xmlns:a16="http://schemas.microsoft.com/office/drawing/2014/main" id="{AC5A5621-ABC7-274A-20F2-FB521365BE13}"/>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120" name="Graphic 4">
            <a:extLst>
              <a:ext uri="{FF2B5EF4-FFF2-40B4-BE49-F238E27FC236}">
                <a16:creationId xmlns:a16="http://schemas.microsoft.com/office/drawing/2014/main" id="{6D0F2D6B-D2FC-DD68-5C34-F9050B2E6963}"/>
              </a:ext>
            </a:extLst>
          </p:cNvPr>
          <p:cNvGrpSpPr>
            <a:grpSpLocks noChangeAspect="1"/>
          </p:cNvGrpSpPr>
          <p:nvPr/>
        </p:nvGrpSpPr>
        <p:grpSpPr>
          <a:xfrm>
            <a:off x="9757279" y="2192467"/>
            <a:ext cx="298812" cy="298530"/>
            <a:chOff x="1952125" y="1885990"/>
            <a:chExt cx="362313" cy="361971"/>
          </a:xfrm>
          <a:solidFill>
            <a:schemeClr val="bg1"/>
          </a:solidFill>
        </p:grpSpPr>
        <p:sp>
          <p:nvSpPr>
            <p:cNvPr id="121" name="Graphic 4">
              <a:extLst>
                <a:ext uri="{FF2B5EF4-FFF2-40B4-BE49-F238E27FC236}">
                  <a16:creationId xmlns:a16="http://schemas.microsoft.com/office/drawing/2014/main" id="{8C51F97C-C4A9-4597-7F57-6A3680329D63}"/>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122" name="Graphic 4">
              <a:extLst>
                <a:ext uri="{FF2B5EF4-FFF2-40B4-BE49-F238E27FC236}">
                  <a16:creationId xmlns:a16="http://schemas.microsoft.com/office/drawing/2014/main" id="{762E6582-7BFA-F63E-63F9-21686C38DF41}"/>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123" name="Graphic 4">
              <a:extLst>
                <a:ext uri="{FF2B5EF4-FFF2-40B4-BE49-F238E27FC236}">
                  <a16:creationId xmlns:a16="http://schemas.microsoft.com/office/drawing/2014/main" id="{62476803-6C8C-6491-01C7-F30A897BB085}"/>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124" name="Graphic 4">
            <a:extLst>
              <a:ext uri="{FF2B5EF4-FFF2-40B4-BE49-F238E27FC236}">
                <a16:creationId xmlns:a16="http://schemas.microsoft.com/office/drawing/2014/main" id="{BAD9FA33-3C6D-658A-F9F7-5559A0F89FBD}"/>
              </a:ext>
            </a:extLst>
          </p:cNvPr>
          <p:cNvGrpSpPr>
            <a:grpSpLocks noChangeAspect="1"/>
          </p:cNvGrpSpPr>
          <p:nvPr/>
        </p:nvGrpSpPr>
        <p:grpSpPr>
          <a:xfrm>
            <a:off x="9757279" y="2690574"/>
            <a:ext cx="298812" cy="298530"/>
            <a:chOff x="1952125" y="1885990"/>
            <a:chExt cx="362313" cy="361971"/>
          </a:xfrm>
          <a:solidFill>
            <a:schemeClr val="bg1"/>
          </a:solidFill>
        </p:grpSpPr>
        <p:sp>
          <p:nvSpPr>
            <p:cNvPr id="125" name="Graphic 4">
              <a:extLst>
                <a:ext uri="{FF2B5EF4-FFF2-40B4-BE49-F238E27FC236}">
                  <a16:creationId xmlns:a16="http://schemas.microsoft.com/office/drawing/2014/main" id="{8D8CC4A4-58B7-F07C-DF64-3742277773C7}"/>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126" name="Graphic 4">
              <a:extLst>
                <a:ext uri="{FF2B5EF4-FFF2-40B4-BE49-F238E27FC236}">
                  <a16:creationId xmlns:a16="http://schemas.microsoft.com/office/drawing/2014/main" id="{7E93478B-E2DD-488A-7FBF-888D814101FE}"/>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127" name="Graphic 4">
              <a:extLst>
                <a:ext uri="{FF2B5EF4-FFF2-40B4-BE49-F238E27FC236}">
                  <a16:creationId xmlns:a16="http://schemas.microsoft.com/office/drawing/2014/main" id="{40B39D8A-E35E-8474-B5B4-6AB55DA5EB6C}"/>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128" name="Graphic 4">
            <a:extLst>
              <a:ext uri="{FF2B5EF4-FFF2-40B4-BE49-F238E27FC236}">
                <a16:creationId xmlns:a16="http://schemas.microsoft.com/office/drawing/2014/main" id="{0F89D5B9-E7EF-91BA-A99F-7E2FFD111FEF}"/>
              </a:ext>
            </a:extLst>
          </p:cNvPr>
          <p:cNvGrpSpPr>
            <a:grpSpLocks noChangeAspect="1"/>
          </p:cNvGrpSpPr>
          <p:nvPr/>
        </p:nvGrpSpPr>
        <p:grpSpPr>
          <a:xfrm>
            <a:off x="9757279" y="3193883"/>
            <a:ext cx="298812" cy="298530"/>
            <a:chOff x="1952125" y="1885990"/>
            <a:chExt cx="362313" cy="361971"/>
          </a:xfrm>
          <a:solidFill>
            <a:schemeClr val="bg1"/>
          </a:solidFill>
        </p:grpSpPr>
        <p:sp>
          <p:nvSpPr>
            <p:cNvPr id="129" name="Graphic 4">
              <a:extLst>
                <a:ext uri="{FF2B5EF4-FFF2-40B4-BE49-F238E27FC236}">
                  <a16:creationId xmlns:a16="http://schemas.microsoft.com/office/drawing/2014/main" id="{47C4C9ED-E269-1BB3-0071-A54FD69378BB}"/>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130" name="Graphic 4">
              <a:extLst>
                <a:ext uri="{FF2B5EF4-FFF2-40B4-BE49-F238E27FC236}">
                  <a16:creationId xmlns:a16="http://schemas.microsoft.com/office/drawing/2014/main" id="{D8AEA2D5-FBDE-A98F-24B2-719DF5E5992E}"/>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131" name="Graphic 4">
              <a:extLst>
                <a:ext uri="{FF2B5EF4-FFF2-40B4-BE49-F238E27FC236}">
                  <a16:creationId xmlns:a16="http://schemas.microsoft.com/office/drawing/2014/main" id="{5027E6BD-6C52-4624-E911-FD061A0ABB63}"/>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nvGrpSpPr>
          <p:cNvPr id="132" name="Graphic 4">
            <a:extLst>
              <a:ext uri="{FF2B5EF4-FFF2-40B4-BE49-F238E27FC236}">
                <a16:creationId xmlns:a16="http://schemas.microsoft.com/office/drawing/2014/main" id="{57FEEB92-070E-A5AB-3458-B14BD99B9F4D}"/>
              </a:ext>
            </a:extLst>
          </p:cNvPr>
          <p:cNvGrpSpPr>
            <a:grpSpLocks noChangeAspect="1"/>
          </p:cNvGrpSpPr>
          <p:nvPr/>
        </p:nvGrpSpPr>
        <p:grpSpPr>
          <a:xfrm>
            <a:off x="9757279" y="4676556"/>
            <a:ext cx="298812" cy="298530"/>
            <a:chOff x="1952125" y="1885990"/>
            <a:chExt cx="362313" cy="361971"/>
          </a:xfrm>
          <a:solidFill>
            <a:schemeClr val="bg1"/>
          </a:solidFill>
        </p:grpSpPr>
        <p:sp>
          <p:nvSpPr>
            <p:cNvPr id="133" name="Graphic 4">
              <a:extLst>
                <a:ext uri="{FF2B5EF4-FFF2-40B4-BE49-F238E27FC236}">
                  <a16:creationId xmlns:a16="http://schemas.microsoft.com/office/drawing/2014/main" id="{4AC262F2-9758-C0C5-08FA-E2E69C5430B0}"/>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134" name="Graphic 4">
              <a:extLst>
                <a:ext uri="{FF2B5EF4-FFF2-40B4-BE49-F238E27FC236}">
                  <a16:creationId xmlns:a16="http://schemas.microsoft.com/office/drawing/2014/main" id="{F4238DA1-B20D-1401-B16C-E5784119C486}"/>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135" name="Graphic 4">
              <a:extLst>
                <a:ext uri="{FF2B5EF4-FFF2-40B4-BE49-F238E27FC236}">
                  <a16:creationId xmlns:a16="http://schemas.microsoft.com/office/drawing/2014/main" id="{6DD41378-592A-DEB8-843F-EA2D72D58987}"/>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sp>
        <p:nvSpPr>
          <p:cNvPr id="136" name="Rectangle 135">
            <a:extLst>
              <a:ext uri="{FF2B5EF4-FFF2-40B4-BE49-F238E27FC236}">
                <a16:creationId xmlns:a16="http://schemas.microsoft.com/office/drawing/2014/main" id="{0F6B86E3-7483-FAED-6746-1C5C677FFAA8}"/>
              </a:ext>
            </a:extLst>
          </p:cNvPr>
          <p:cNvSpPr/>
          <p:nvPr/>
        </p:nvSpPr>
        <p:spPr bwMode="gray">
          <a:xfrm>
            <a:off x="2907178" y="5408481"/>
            <a:ext cx="1477524" cy="470560"/>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20 to 50</a:t>
            </a:r>
            <a:br>
              <a:rPr lang="en-US" sz="1600" b="1" dirty="0">
                <a:solidFill>
                  <a:schemeClr val="bg1"/>
                </a:solidFill>
              </a:rPr>
            </a:br>
            <a:r>
              <a:rPr lang="en-US" sz="1600" b="1" dirty="0">
                <a:solidFill>
                  <a:schemeClr val="bg1"/>
                </a:solidFill>
              </a:rPr>
              <a:t>M€</a:t>
            </a:r>
          </a:p>
        </p:txBody>
      </p:sp>
      <p:sp>
        <p:nvSpPr>
          <p:cNvPr id="137" name="Rectangle 136">
            <a:extLst>
              <a:ext uri="{FF2B5EF4-FFF2-40B4-BE49-F238E27FC236}">
                <a16:creationId xmlns:a16="http://schemas.microsoft.com/office/drawing/2014/main" id="{FBC5A467-1A02-F7A6-B12C-4013AF392080}"/>
              </a:ext>
            </a:extLst>
          </p:cNvPr>
          <p:cNvSpPr/>
          <p:nvPr/>
        </p:nvSpPr>
        <p:spPr bwMode="gray">
          <a:xfrm>
            <a:off x="4997764" y="5408481"/>
            <a:ext cx="1477524" cy="470560"/>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20 to 50</a:t>
            </a:r>
            <a:br>
              <a:rPr lang="en-US" sz="1600" b="1" dirty="0">
                <a:solidFill>
                  <a:schemeClr val="bg1"/>
                </a:solidFill>
              </a:rPr>
            </a:br>
            <a:r>
              <a:rPr lang="en-US" sz="1600" b="1" dirty="0">
                <a:solidFill>
                  <a:schemeClr val="bg1"/>
                </a:solidFill>
              </a:rPr>
              <a:t>M€</a:t>
            </a:r>
          </a:p>
        </p:txBody>
      </p:sp>
      <p:sp>
        <p:nvSpPr>
          <p:cNvPr id="138" name="Rectangle 137">
            <a:extLst>
              <a:ext uri="{FF2B5EF4-FFF2-40B4-BE49-F238E27FC236}">
                <a16:creationId xmlns:a16="http://schemas.microsoft.com/office/drawing/2014/main" id="{0EB31A4E-6ACF-7DB9-1192-E5B303737342}"/>
              </a:ext>
            </a:extLst>
          </p:cNvPr>
          <p:cNvSpPr/>
          <p:nvPr/>
        </p:nvSpPr>
        <p:spPr bwMode="gray">
          <a:xfrm>
            <a:off x="7088351" y="5408481"/>
            <a:ext cx="1477524" cy="470560"/>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100 to 150</a:t>
            </a:r>
            <a:br>
              <a:rPr lang="en-US" sz="1600" b="1" dirty="0">
                <a:solidFill>
                  <a:schemeClr val="bg1"/>
                </a:solidFill>
              </a:rPr>
            </a:br>
            <a:r>
              <a:rPr lang="en-US" sz="1600" b="1" dirty="0">
                <a:solidFill>
                  <a:schemeClr val="bg1"/>
                </a:solidFill>
              </a:rPr>
              <a:t>M€</a:t>
            </a:r>
          </a:p>
        </p:txBody>
      </p:sp>
      <p:sp>
        <p:nvSpPr>
          <p:cNvPr id="139" name="Rectangle 138">
            <a:extLst>
              <a:ext uri="{FF2B5EF4-FFF2-40B4-BE49-F238E27FC236}">
                <a16:creationId xmlns:a16="http://schemas.microsoft.com/office/drawing/2014/main" id="{8664E0D3-744C-8F22-2207-D5409B77DA75}"/>
              </a:ext>
            </a:extLst>
          </p:cNvPr>
          <p:cNvSpPr/>
          <p:nvPr/>
        </p:nvSpPr>
        <p:spPr bwMode="gray">
          <a:xfrm>
            <a:off x="9167923" y="5408481"/>
            <a:ext cx="1477524" cy="470560"/>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150</a:t>
            </a:r>
          </a:p>
          <a:p>
            <a:pPr algn="ctr" rtl="0">
              <a:defRPr sz="1800" b="0" i="0" u="none" strike="noStrike" kern="1200" spc="0" baseline="0">
                <a:solidFill>
                  <a:prstClr val="black">
                    <a:lumMod val="65000"/>
                    <a:lumOff val="35000"/>
                  </a:prstClr>
                </a:solidFill>
                <a:latin typeface="+mn-lt"/>
                <a:ea typeface="+mn-ea"/>
                <a:cs typeface="+mn-cs"/>
              </a:defRPr>
            </a:pPr>
            <a:r>
              <a:rPr lang="en-US" sz="1600" b="1" dirty="0">
                <a:solidFill>
                  <a:schemeClr val="bg1"/>
                </a:solidFill>
              </a:rPr>
              <a:t>M€</a:t>
            </a:r>
          </a:p>
        </p:txBody>
      </p:sp>
      <p:sp>
        <p:nvSpPr>
          <p:cNvPr id="141" name="Rectangle 140">
            <a:extLst>
              <a:ext uri="{FF2B5EF4-FFF2-40B4-BE49-F238E27FC236}">
                <a16:creationId xmlns:a16="http://schemas.microsoft.com/office/drawing/2014/main" id="{7AEC06E5-9ED5-726D-FF94-394C7BE63404}"/>
              </a:ext>
            </a:extLst>
          </p:cNvPr>
          <p:cNvSpPr/>
          <p:nvPr/>
        </p:nvSpPr>
        <p:spPr bwMode="gray">
          <a:xfrm>
            <a:off x="5319563" y="6051527"/>
            <a:ext cx="1649234" cy="246221"/>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rtl="0">
              <a:defRPr sz="1800" b="0" i="0" u="none" strike="noStrike" kern="1200" spc="0" baseline="0">
                <a:solidFill>
                  <a:prstClr val="black">
                    <a:lumMod val="65000"/>
                    <a:lumOff val="35000"/>
                  </a:prstClr>
                </a:solidFill>
                <a:latin typeface="+mn-lt"/>
                <a:ea typeface="+mn-ea"/>
                <a:cs typeface="+mn-cs"/>
              </a:defRPr>
            </a:pPr>
            <a:r>
              <a:rPr lang="en-US" sz="1600" dirty="0">
                <a:solidFill>
                  <a:schemeClr val="bg1"/>
                </a:solidFill>
              </a:rPr>
              <a:t>Yearly IT budget</a:t>
            </a:r>
          </a:p>
        </p:txBody>
      </p:sp>
      <p:sp>
        <p:nvSpPr>
          <p:cNvPr id="142" name="Rectangle 141">
            <a:extLst>
              <a:ext uri="{FF2B5EF4-FFF2-40B4-BE49-F238E27FC236}">
                <a16:creationId xmlns:a16="http://schemas.microsoft.com/office/drawing/2014/main" id="{47ED17EA-CCDF-73A9-A0B9-2E4D52D21C43}"/>
              </a:ext>
            </a:extLst>
          </p:cNvPr>
          <p:cNvSpPr/>
          <p:nvPr/>
        </p:nvSpPr>
        <p:spPr bwMode="gray">
          <a:xfrm rot="16200000">
            <a:off x="-572686" y="3361507"/>
            <a:ext cx="2541003" cy="252251"/>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rtl="0">
              <a:defRPr sz="1800" b="0" i="0" u="none" strike="noStrike" kern="1200" spc="0" baseline="0">
                <a:solidFill>
                  <a:prstClr val="black">
                    <a:lumMod val="65000"/>
                    <a:lumOff val="35000"/>
                  </a:prstClr>
                </a:solidFill>
                <a:latin typeface="+mn-lt"/>
                <a:ea typeface="+mn-ea"/>
                <a:cs typeface="+mn-cs"/>
              </a:defRPr>
            </a:pPr>
            <a:r>
              <a:rPr lang="en-US" sz="1600" dirty="0">
                <a:solidFill>
                  <a:schemeClr val="bg1"/>
                </a:solidFill>
              </a:rPr>
              <a:t>Yearly Cloud consumption </a:t>
            </a:r>
          </a:p>
        </p:txBody>
      </p:sp>
      <p:sp>
        <p:nvSpPr>
          <p:cNvPr id="2" name="TextBox 1">
            <a:extLst>
              <a:ext uri="{FF2B5EF4-FFF2-40B4-BE49-F238E27FC236}">
                <a16:creationId xmlns:a16="http://schemas.microsoft.com/office/drawing/2014/main" id="{10B64F65-ADFB-D4A3-42BD-595FC0B95E0D}"/>
              </a:ext>
            </a:extLst>
          </p:cNvPr>
          <p:cNvSpPr txBox="1"/>
          <p:nvPr/>
        </p:nvSpPr>
        <p:spPr>
          <a:xfrm>
            <a:off x="8989412" y="6477000"/>
            <a:ext cx="2576945" cy="100027"/>
          </a:xfrm>
          <a:prstGeom prst="rect">
            <a:avLst/>
          </a:prstGeom>
          <a:solidFill>
            <a:srgbClr val="0097A9"/>
          </a:solid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dirty="0">
                <a:solidFill>
                  <a:schemeClr val="bg1"/>
                </a:solidFill>
              </a:rPr>
              <a:t>Copyright © 2023 Deloitte Development LLC. All rights reserved.  </a:t>
            </a:r>
            <a:r>
              <a:rPr kumimoji="0" lang="en-US" sz="650" b="0" i="0" u="none" strike="noStrike" kern="1200" cap="none" spc="0" normalizeH="0" baseline="0" noProof="0" dirty="0">
                <a:ln>
                  <a:noFill/>
                </a:ln>
                <a:solidFill>
                  <a:schemeClr val="bg1"/>
                </a:solidFill>
                <a:effectLst/>
                <a:uLnTx/>
                <a:uFillTx/>
                <a:latin typeface="+mn-lt"/>
                <a:ea typeface="+mn-ea"/>
                <a:cs typeface="+mn-cs"/>
              </a:rPr>
              <a:t>| </a:t>
            </a:r>
            <a:endParaRPr lang="en-US" sz="650" noProof="0" dirty="0">
              <a:solidFill>
                <a:schemeClr val="bg1"/>
              </a:solidFill>
            </a:endParaRPr>
          </a:p>
        </p:txBody>
      </p:sp>
      <p:grpSp>
        <p:nvGrpSpPr>
          <p:cNvPr id="26" name="Group 25">
            <a:extLst>
              <a:ext uri="{FF2B5EF4-FFF2-40B4-BE49-F238E27FC236}">
                <a16:creationId xmlns:a16="http://schemas.microsoft.com/office/drawing/2014/main" id="{C3069907-077C-182C-CEAE-9AE556B98584}"/>
              </a:ext>
            </a:extLst>
          </p:cNvPr>
          <p:cNvGrpSpPr/>
          <p:nvPr/>
        </p:nvGrpSpPr>
        <p:grpSpPr>
          <a:xfrm>
            <a:off x="9923811" y="1531936"/>
            <a:ext cx="1798288" cy="298530"/>
            <a:chOff x="9923811" y="1531936"/>
            <a:chExt cx="1798288" cy="298530"/>
          </a:xfrm>
        </p:grpSpPr>
        <p:sp>
          <p:nvSpPr>
            <p:cNvPr id="12" name="Rectangle 11">
              <a:extLst>
                <a:ext uri="{FF2B5EF4-FFF2-40B4-BE49-F238E27FC236}">
                  <a16:creationId xmlns:a16="http://schemas.microsoft.com/office/drawing/2014/main" id="{168CE7A3-4027-B164-7AC9-3C49CDC87219}"/>
                </a:ext>
              </a:extLst>
            </p:cNvPr>
            <p:cNvSpPr/>
            <p:nvPr/>
          </p:nvSpPr>
          <p:spPr bwMode="gray">
            <a:xfrm>
              <a:off x="10309184" y="1550129"/>
              <a:ext cx="1412915" cy="246221"/>
            </a:xfrm>
            <a:prstGeom prst="rect">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rtl="0">
                <a:defRPr sz="1800" b="0" i="0" u="none" strike="noStrike" kern="1200" spc="0" baseline="0">
                  <a:solidFill>
                    <a:prstClr val="black">
                      <a:lumMod val="65000"/>
                      <a:lumOff val="35000"/>
                    </a:prstClr>
                  </a:solidFill>
                  <a:latin typeface="+mn-lt"/>
                  <a:ea typeface="+mn-ea"/>
                  <a:cs typeface="+mn-cs"/>
                </a:defRPr>
              </a:pPr>
              <a:r>
                <a:rPr lang="en-US" sz="1600" dirty="0">
                  <a:solidFill>
                    <a:schemeClr val="bg1"/>
                  </a:solidFill>
                </a:rPr>
                <a:t>= respondents</a:t>
              </a:r>
            </a:p>
          </p:txBody>
        </p:sp>
        <p:grpSp>
          <p:nvGrpSpPr>
            <p:cNvPr id="13" name="Graphic 4">
              <a:extLst>
                <a:ext uri="{FF2B5EF4-FFF2-40B4-BE49-F238E27FC236}">
                  <a16:creationId xmlns:a16="http://schemas.microsoft.com/office/drawing/2014/main" id="{1AC824B7-8BA7-3F91-30F2-4D38CD7534F6}"/>
                </a:ext>
              </a:extLst>
            </p:cNvPr>
            <p:cNvGrpSpPr>
              <a:grpSpLocks noChangeAspect="1"/>
            </p:cNvGrpSpPr>
            <p:nvPr/>
          </p:nvGrpSpPr>
          <p:grpSpPr>
            <a:xfrm>
              <a:off x="9923811" y="1531936"/>
              <a:ext cx="298812" cy="298530"/>
              <a:chOff x="1952125" y="1885990"/>
              <a:chExt cx="362313" cy="361971"/>
            </a:xfrm>
            <a:solidFill>
              <a:schemeClr val="bg1"/>
            </a:solidFill>
          </p:grpSpPr>
          <p:sp>
            <p:nvSpPr>
              <p:cNvPr id="14" name="Graphic 4">
                <a:extLst>
                  <a:ext uri="{FF2B5EF4-FFF2-40B4-BE49-F238E27FC236}">
                    <a16:creationId xmlns:a16="http://schemas.microsoft.com/office/drawing/2014/main" id="{8749684D-49A1-0BA2-7C7D-B222D9C9424A}"/>
                  </a:ext>
                </a:extLst>
              </p:cNvPr>
              <p:cNvSpPr/>
              <p:nvPr/>
            </p:nvSpPr>
            <p:spPr>
              <a:xfrm>
                <a:off x="1952125"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58153 w 362313"/>
                  <a:gd name="connsiteY6" fmla="*/ 278342 h 361971"/>
                  <a:gd name="connsiteX7" fmla="*/ 251763 w 362313"/>
                  <a:gd name="connsiteY7" fmla="*/ 284726 h 361971"/>
                  <a:gd name="connsiteX8" fmla="*/ 111824 w 362313"/>
                  <a:gd name="connsiteY8" fmla="*/ 284726 h 361971"/>
                  <a:gd name="connsiteX9" fmla="*/ 105434 w 362313"/>
                  <a:gd name="connsiteY9" fmla="*/ 278342 h 361971"/>
                  <a:gd name="connsiteX10" fmla="*/ 105434 w 362313"/>
                  <a:gd name="connsiteY10" fmla="*/ 83630 h 361971"/>
                  <a:gd name="connsiteX11" fmla="*/ 111824 w 362313"/>
                  <a:gd name="connsiteY11" fmla="*/ 77246 h 361971"/>
                  <a:gd name="connsiteX12" fmla="*/ 195532 w 362313"/>
                  <a:gd name="connsiteY12" fmla="*/ 77246 h 361971"/>
                  <a:gd name="connsiteX13" fmla="*/ 201922 w 362313"/>
                  <a:gd name="connsiteY13" fmla="*/ 83630 h 361971"/>
                  <a:gd name="connsiteX14" fmla="*/ 201922 w 362313"/>
                  <a:gd name="connsiteY14" fmla="*/ 132787 h 361971"/>
                  <a:gd name="connsiteX15" fmla="*/ 251124 w 362313"/>
                  <a:gd name="connsiteY15" fmla="*/ 132787 h 361971"/>
                  <a:gd name="connsiteX16" fmla="*/ 257514 w 362313"/>
                  <a:gd name="connsiteY16" fmla="*/ 139171 h 361971"/>
                  <a:gd name="connsiteX17" fmla="*/ 258153 w 362313"/>
                  <a:gd name="connsiteY17" fmla="*/ 27834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58153" y="278342"/>
                    </a:moveTo>
                    <a:cubicBezTo>
                      <a:pt x="258153" y="282172"/>
                      <a:pt x="255597" y="284726"/>
                      <a:pt x="251763" y="284726"/>
                    </a:cubicBezTo>
                    <a:lnTo>
                      <a:pt x="111824" y="284726"/>
                    </a:lnTo>
                    <a:cubicBezTo>
                      <a:pt x="107990" y="284726"/>
                      <a:pt x="105434" y="282172"/>
                      <a:pt x="105434" y="278342"/>
                    </a:cubicBezTo>
                    <a:lnTo>
                      <a:pt x="105434" y="83630"/>
                    </a:lnTo>
                    <a:cubicBezTo>
                      <a:pt x="105434" y="79800"/>
                      <a:pt x="107990" y="77246"/>
                      <a:pt x="111824" y="77246"/>
                    </a:cubicBezTo>
                    <a:lnTo>
                      <a:pt x="195532" y="77246"/>
                    </a:lnTo>
                    <a:cubicBezTo>
                      <a:pt x="199366" y="77246"/>
                      <a:pt x="201922" y="79800"/>
                      <a:pt x="201922" y="83630"/>
                    </a:cubicBezTo>
                    <a:lnTo>
                      <a:pt x="201922" y="132787"/>
                    </a:lnTo>
                    <a:lnTo>
                      <a:pt x="251124" y="132787"/>
                    </a:lnTo>
                    <a:cubicBezTo>
                      <a:pt x="254958" y="132787"/>
                      <a:pt x="257514" y="135341"/>
                      <a:pt x="257514" y="139171"/>
                    </a:cubicBezTo>
                    <a:lnTo>
                      <a:pt x="258153" y="278342"/>
                    </a:lnTo>
                    <a:close/>
                  </a:path>
                </a:pathLst>
              </a:custGeom>
              <a:grpFill/>
              <a:ln w="6390"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C1B6C4F0-4E42-1F04-29D8-43364FD5D871}"/>
                  </a:ext>
                </a:extLst>
              </p:cNvPr>
              <p:cNvSpPr/>
              <p:nvPr/>
            </p:nvSpPr>
            <p:spPr>
              <a:xfrm>
                <a:off x="2070339" y="1976005"/>
                <a:ext cx="70928" cy="181943"/>
              </a:xfrm>
              <a:custGeom>
                <a:avLst/>
                <a:gdLst>
                  <a:gd name="connsiteX0" fmla="*/ 15336 w 70928"/>
                  <a:gd name="connsiteY0" fmla="*/ 160238 h 181943"/>
                  <a:gd name="connsiteX1" fmla="*/ 21726 w 70928"/>
                  <a:gd name="connsiteY1" fmla="*/ 153854 h 181943"/>
                  <a:gd name="connsiteX2" fmla="*/ 28116 w 70928"/>
                  <a:gd name="connsiteY2" fmla="*/ 160238 h 181943"/>
                  <a:gd name="connsiteX3" fmla="*/ 28116 w 70928"/>
                  <a:gd name="connsiteY3" fmla="*/ 181944 h 181943"/>
                  <a:gd name="connsiteX4" fmla="*/ 70928 w 70928"/>
                  <a:gd name="connsiteY4" fmla="*/ 181944 h 181943"/>
                  <a:gd name="connsiteX5" fmla="*/ 70928 w 70928"/>
                  <a:gd name="connsiteY5" fmla="*/ 0 h 181943"/>
                  <a:gd name="connsiteX6" fmla="*/ 0 w 70928"/>
                  <a:gd name="connsiteY6" fmla="*/ 0 h 181943"/>
                  <a:gd name="connsiteX7" fmla="*/ 0 w 70928"/>
                  <a:gd name="connsiteY7" fmla="*/ 181944 h 181943"/>
                  <a:gd name="connsiteX8" fmla="*/ 15336 w 70928"/>
                  <a:gd name="connsiteY8" fmla="*/ 181944 h 181943"/>
                  <a:gd name="connsiteX9" fmla="*/ 15336 w 70928"/>
                  <a:gd name="connsiteY9" fmla="*/ 160238 h 181943"/>
                  <a:gd name="connsiteX10" fmla="*/ 43451 w 70928"/>
                  <a:gd name="connsiteY10" fmla="*/ 18514 h 181943"/>
                  <a:gd name="connsiteX11" fmla="*/ 44730 w 70928"/>
                  <a:gd name="connsiteY11" fmla="*/ 16598 h 181943"/>
                  <a:gd name="connsiteX12" fmla="*/ 51759 w 70928"/>
                  <a:gd name="connsiteY12" fmla="*/ 15322 h 181943"/>
                  <a:gd name="connsiteX13" fmla="*/ 53675 w 70928"/>
                  <a:gd name="connsiteY13" fmla="*/ 16598 h 181943"/>
                  <a:gd name="connsiteX14" fmla="*/ 55593 w 70928"/>
                  <a:gd name="connsiteY14" fmla="*/ 21067 h 181943"/>
                  <a:gd name="connsiteX15" fmla="*/ 49203 w 70928"/>
                  <a:gd name="connsiteY15" fmla="*/ 27451 h 181943"/>
                  <a:gd name="connsiteX16" fmla="*/ 42813 w 70928"/>
                  <a:gd name="connsiteY16" fmla="*/ 21067 h 181943"/>
                  <a:gd name="connsiteX17" fmla="*/ 43451 w 70928"/>
                  <a:gd name="connsiteY17" fmla="*/ 18514 h 181943"/>
                  <a:gd name="connsiteX18" fmla="*/ 43451 w 70928"/>
                  <a:gd name="connsiteY18" fmla="*/ 45965 h 181943"/>
                  <a:gd name="connsiteX19" fmla="*/ 44730 w 70928"/>
                  <a:gd name="connsiteY19" fmla="*/ 44049 h 181943"/>
                  <a:gd name="connsiteX20" fmla="*/ 50480 w 70928"/>
                  <a:gd name="connsiteY20" fmla="*/ 42134 h 181943"/>
                  <a:gd name="connsiteX21" fmla="*/ 51759 w 70928"/>
                  <a:gd name="connsiteY21" fmla="*/ 42134 h 181943"/>
                  <a:gd name="connsiteX22" fmla="*/ 53036 w 70928"/>
                  <a:gd name="connsiteY22" fmla="*/ 42773 h 181943"/>
                  <a:gd name="connsiteX23" fmla="*/ 53675 w 70928"/>
                  <a:gd name="connsiteY23" fmla="*/ 43411 h 181943"/>
                  <a:gd name="connsiteX24" fmla="*/ 54954 w 70928"/>
                  <a:gd name="connsiteY24" fmla="*/ 45326 h 181943"/>
                  <a:gd name="connsiteX25" fmla="*/ 55593 w 70928"/>
                  <a:gd name="connsiteY25" fmla="*/ 47880 h 181943"/>
                  <a:gd name="connsiteX26" fmla="*/ 54954 w 70928"/>
                  <a:gd name="connsiteY26" fmla="*/ 50433 h 181943"/>
                  <a:gd name="connsiteX27" fmla="*/ 51759 w 70928"/>
                  <a:gd name="connsiteY27" fmla="*/ 53625 h 181943"/>
                  <a:gd name="connsiteX28" fmla="*/ 49203 w 70928"/>
                  <a:gd name="connsiteY28" fmla="*/ 54264 h 181943"/>
                  <a:gd name="connsiteX29" fmla="*/ 46646 w 70928"/>
                  <a:gd name="connsiteY29" fmla="*/ 53625 h 181943"/>
                  <a:gd name="connsiteX30" fmla="*/ 44730 w 70928"/>
                  <a:gd name="connsiteY30" fmla="*/ 52349 h 181943"/>
                  <a:gd name="connsiteX31" fmla="*/ 42813 w 70928"/>
                  <a:gd name="connsiteY31" fmla="*/ 47880 h 181943"/>
                  <a:gd name="connsiteX32" fmla="*/ 43451 w 70928"/>
                  <a:gd name="connsiteY32" fmla="*/ 45965 h 181943"/>
                  <a:gd name="connsiteX33" fmla="*/ 43451 w 70928"/>
                  <a:gd name="connsiteY33" fmla="*/ 45965 h 181943"/>
                  <a:gd name="connsiteX34" fmla="*/ 45369 w 70928"/>
                  <a:gd name="connsiteY34" fmla="*/ 71501 h 181943"/>
                  <a:gd name="connsiteX35" fmla="*/ 52398 w 70928"/>
                  <a:gd name="connsiteY35" fmla="*/ 70224 h 181943"/>
                  <a:gd name="connsiteX36" fmla="*/ 54314 w 70928"/>
                  <a:gd name="connsiteY36" fmla="*/ 71501 h 181943"/>
                  <a:gd name="connsiteX37" fmla="*/ 56231 w 70928"/>
                  <a:gd name="connsiteY37" fmla="*/ 75969 h 181943"/>
                  <a:gd name="connsiteX38" fmla="*/ 54314 w 70928"/>
                  <a:gd name="connsiteY38" fmla="*/ 80438 h 181943"/>
                  <a:gd name="connsiteX39" fmla="*/ 49841 w 70928"/>
                  <a:gd name="connsiteY39" fmla="*/ 82353 h 181943"/>
                  <a:gd name="connsiteX40" fmla="*/ 43451 w 70928"/>
                  <a:gd name="connsiteY40" fmla="*/ 75969 h 181943"/>
                  <a:gd name="connsiteX41" fmla="*/ 45369 w 70928"/>
                  <a:gd name="connsiteY41" fmla="*/ 71501 h 181943"/>
                  <a:gd name="connsiteX42" fmla="*/ 45369 w 70928"/>
                  <a:gd name="connsiteY42" fmla="*/ 71501 h 181943"/>
                  <a:gd name="connsiteX43" fmla="*/ 45369 w 70928"/>
                  <a:gd name="connsiteY43" fmla="*/ 99590 h 181943"/>
                  <a:gd name="connsiteX44" fmla="*/ 54314 w 70928"/>
                  <a:gd name="connsiteY44" fmla="*/ 99590 h 181943"/>
                  <a:gd name="connsiteX45" fmla="*/ 55593 w 70928"/>
                  <a:gd name="connsiteY45" fmla="*/ 106613 h 181943"/>
                  <a:gd name="connsiteX46" fmla="*/ 52398 w 70928"/>
                  <a:gd name="connsiteY46" fmla="*/ 109805 h 181943"/>
                  <a:gd name="connsiteX47" fmla="*/ 49841 w 70928"/>
                  <a:gd name="connsiteY47" fmla="*/ 110443 h 181943"/>
                  <a:gd name="connsiteX48" fmla="*/ 47285 w 70928"/>
                  <a:gd name="connsiteY48" fmla="*/ 109805 h 181943"/>
                  <a:gd name="connsiteX49" fmla="*/ 45369 w 70928"/>
                  <a:gd name="connsiteY49" fmla="*/ 108528 h 181943"/>
                  <a:gd name="connsiteX50" fmla="*/ 44091 w 70928"/>
                  <a:gd name="connsiteY50" fmla="*/ 106613 h 181943"/>
                  <a:gd name="connsiteX51" fmla="*/ 45369 w 70928"/>
                  <a:gd name="connsiteY51" fmla="*/ 99590 h 181943"/>
                  <a:gd name="connsiteX52" fmla="*/ 45369 w 70928"/>
                  <a:gd name="connsiteY52" fmla="*/ 99590 h 181943"/>
                  <a:gd name="connsiteX53" fmla="*/ 43451 w 70928"/>
                  <a:gd name="connsiteY53" fmla="*/ 130872 h 181943"/>
                  <a:gd name="connsiteX54" fmla="*/ 45369 w 70928"/>
                  <a:gd name="connsiteY54" fmla="*/ 127680 h 181943"/>
                  <a:gd name="connsiteX55" fmla="*/ 51119 w 70928"/>
                  <a:gd name="connsiteY55" fmla="*/ 125765 h 181943"/>
                  <a:gd name="connsiteX56" fmla="*/ 52398 w 70928"/>
                  <a:gd name="connsiteY56" fmla="*/ 126403 h 181943"/>
                  <a:gd name="connsiteX57" fmla="*/ 53675 w 70928"/>
                  <a:gd name="connsiteY57" fmla="*/ 127041 h 181943"/>
                  <a:gd name="connsiteX58" fmla="*/ 54314 w 70928"/>
                  <a:gd name="connsiteY58" fmla="*/ 127680 h 181943"/>
                  <a:gd name="connsiteX59" fmla="*/ 56231 w 70928"/>
                  <a:gd name="connsiteY59" fmla="*/ 132149 h 181943"/>
                  <a:gd name="connsiteX60" fmla="*/ 49841 w 70928"/>
                  <a:gd name="connsiteY60" fmla="*/ 138533 h 181943"/>
                  <a:gd name="connsiteX61" fmla="*/ 47285 w 70928"/>
                  <a:gd name="connsiteY61" fmla="*/ 137894 h 181943"/>
                  <a:gd name="connsiteX62" fmla="*/ 45369 w 70928"/>
                  <a:gd name="connsiteY62" fmla="*/ 136617 h 181943"/>
                  <a:gd name="connsiteX63" fmla="*/ 44091 w 70928"/>
                  <a:gd name="connsiteY63" fmla="*/ 134702 h 181943"/>
                  <a:gd name="connsiteX64" fmla="*/ 43451 w 70928"/>
                  <a:gd name="connsiteY64" fmla="*/ 132149 h 181943"/>
                  <a:gd name="connsiteX65" fmla="*/ 43451 w 70928"/>
                  <a:gd name="connsiteY65" fmla="*/ 130872 h 181943"/>
                  <a:gd name="connsiteX66" fmla="*/ 43451 w 70928"/>
                  <a:gd name="connsiteY66" fmla="*/ 130872 h 181943"/>
                  <a:gd name="connsiteX67" fmla="*/ 43451 w 70928"/>
                  <a:gd name="connsiteY67" fmla="*/ 157684 h 181943"/>
                  <a:gd name="connsiteX68" fmla="*/ 44730 w 70928"/>
                  <a:gd name="connsiteY68" fmla="*/ 155769 h 181943"/>
                  <a:gd name="connsiteX69" fmla="*/ 53675 w 70928"/>
                  <a:gd name="connsiteY69" fmla="*/ 155769 h 181943"/>
                  <a:gd name="connsiteX70" fmla="*/ 54954 w 70928"/>
                  <a:gd name="connsiteY70" fmla="*/ 157684 h 181943"/>
                  <a:gd name="connsiteX71" fmla="*/ 55593 w 70928"/>
                  <a:gd name="connsiteY71" fmla="*/ 160238 h 181943"/>
                  <a:gd name="connsiteX72" fmla="*/ 53675 w 70928"/>
                  <a:gd name="connsiteY72" fmla="*/ 164707 h 181943"/>
                  <a:gd name="connsiteX73" fmla="*/ 51759 w 70928"/>
                  <a:gd name="connsiteY73" fmla="*/ 165984 h 181943"/>
                  <a:gd name="connsiteX74" fmla="*/ 43451 w 70928"/>
                  <a:gd name="connsiteY74" fmla="*/ 162792 h 181943"/>
                  <a:gd name="connsiteX75" fmla="*/ 42813 w 70928"/>
                  <a:gd name="connsiteY75" fmla="*/ 160238 h 181943"/>
                  <a:gd name="connsiteX76" fmla="*/ 43451 w 70928"/>
                  <a:gd name="connsiteY76" fmla="*/ 157684 h 181943"/>
                  <a:gd name="connsiteX77" fmla="*/ 43451 w 70928"/>
                  <a:gd name="connsiteY77" fmla="*/ 157684 h 181943"/>
                  <a:gd name="connsiteX78" fmla="*/ 17253 w 70928"/>
                  <a:gd name="connsiteY78" fmla="*/ 15960 h 181943"/>
                  <a:gd name="connsiteX79" fmla="*/ 19170 w 70928"/>
                  <a:gd name="connsiteY79" fmla="*/ 14683 h 181943"/>
                  <a:gd name="connsiteX80" fmla="*/ 26199 w 70928"/>
                  <a:gd name="connsiteY80" fmla="*/ 15960 h 181943"/>
                  <a:gd name="connsiteX81" fmla="*/ 27477 w 70928"/>
                  <a:gd name="connsiteY81" fmla="*/ 17875 h 181943"/>
                  <a:gd name="connsiteX82" fmla="*/ 26199 w 70928"/>
                  <a:gd name="connsiteY82" fmla="*/ 24897 h 181943"/>
                  <a:gd name="connsiteX83" fmla="*/ 24282 w 70928"/>
                  <a:gd name="connsiteY83" fmla="*/ 26174 h 181943"/>
                  <a:gd name="connsiteX84" fmla="*/ 21726 w 70928"/>
                  <a:gd name="connsiteY84" fmla="*/ 26813 h 181943"/>
                  <a:gd name="connsiteX85" fmla="*/ 17253 w 70928"/>
                  <a:gd name="connsiteY85" fmla="*/ 24897 h 181943"/>
                  <a:gd name="connsiteX86" fmla="*/ 15336 w 70928"/>
                  <a:gd name="connsiteY86" fmla="*/ 20429 h 181943"/>
                  <a:gd name="connsiteX87" fmla="*/ 17253 w 70928"/>
                  <a:gd name="connsiteY87" fmla="*/ 15960 h 181943"/>
                  <a:gd name="connsiteX88" fmla="*/ 17253 w 70928"/>
                  <a:gd name="connsiteY88" fmla="*/ 15960 h 181943"/>
                  <a:gd name="connsiteX89" fmla="*/ 15975 w 70928"/>
                  <a:gd name="connsiteY89" fmla="*/ 45965 h 181943"/>
                  <a:gd name="connsiteX90" fmla="*/ 17253 w 70928"/>
                  <a:gd name="connsiteY90" fmla="*/ 44049 h 181943"/>
                  <a:gd name="connsiteX91" fmla="*/ 26199 w 70928"/>
                  <a:gd name="connsiteY91" fmla="*/ 44049 h 181943"/>
                  <a:gd name="connsiteX92" fmla="*/ 27477 w 70928"/>
                  <a:gd name="connsiteY92" fmla="*/ 45965 h 181943"/>
                  <a:gd name="connsiteX93" fmla="*/ 28116 w 70928"/>
                  <a:gd name="connsiteY93" fmla="*/ 48518 h 181943"/>
                  <a:gd name="connsiteX94" fmla="*/ 26199 w 70928"/>
                  <a:gd name="connsiteY94" fmla="*/ 52987 h 181943"/>
                  <a:gd name="connsiteX95" fmla="*/ 24282 w 70928"/>
                  <a:gd name="connsiteY95" fmla="*/ 54264 h 181943"/>
                  <a:gd name="connsiteX96" fmla="*/ 21726 w 70928"/>
                  <a:gd name="connsiteY96" fmla="*/ 54902 h 181943"/>
                  <a:gd name="connsiteX97" fmla="*/ 19170 w 70928"/>
                  <a:gd name="connsiteY97" fmla="*/ 54264 h 181943"/>
                  <a:gd name="connsiteX98" fmla="*/ 15975 w 70928"/>
                  <a:gd name="connsiteY98" fmla="*/ 51072 h 181943"/>
                  <a:gd name="connsiteX99" fmla="*/ 15336 w 70928"/>
                  <a:gd name="connsiteY99" fmla="*/ 48518 h 181943"/>
                  <a:gd name="connsiteX100" fmla="*/ 15975 w 70928"/>
                  <a:gd name="connsiteY100" fmla="*/ 45965 h 181943"/>
                  <a:gd name="connsiteX101" fmla="*/ 15975 w 70928"/>
                  <a:gd name="connsiteY101" fmla="*/ 45965 h 181943"/>
                  <a:gd name="connsiteX102" fmla="*/ 17253 w 70928"/>
                  <a:gd name="connsiteY102" fmla="*/ 71501 h 181943"/>
                  <a:gd name="connsiteX103" fmla="*/ 19170 w 70928"/>
                  <a:gd name="connsiteY103" fmla="*/ 70862 h 181943"/>
                  <a:gd name="connsiteX104" fmla="*/ 26199 w 70928"/>
                  <a:gd name="connsiteY104" fmla="*/ 72139 h 181943"/>
                  <a:gd name="connsiteX105" fmla="*/ 28116 w 70928"/>
                  <a:gd name="connsiteY105" fmla="*/ 76608 h 181943"/>
                  <a:gd name="connsiteX106" fmla="*/ 21726 w 70928"/>
                  <a:gd name="connsiteY106" fmla="*/ 82992 h 181943"/>
                  <a:gd name="connsiteX107" fmla="*/ 19170 w 70928"/>
                  <a:gd name="connsiteY107" fmla="*/ 82353 h 181943"/>
                  <a:gd name="connsiteX108" fmla="*/ 17253 w 70928"/>
                  <a:gd name="connsiteY108" fmla="*/ 81077 h 181943"/>
                  <a:gd name="connsiteX109" fmla="*/ 15336 w 70928"/>
                  <a:gd name="connsiteY109" fmla="*/ 76608 h 181943"/>
                  <a:gd name="connsiteX110" fmla="*/ 17253 w 70928"/>
                  <a:gd name="connsiteY110" fmla="*/ 72139 h 181943"/>
                  <a:gd name="connsiteX111" fmla="*/ 17253 w 70928"/>
                  <a:gd name="connsiteY111" fmla="*/ 71501 h 181943"/>
                  <a:gd name="connsiteX112" fmla="*/ 17253 w 70928"/>
                  <a:gd name="connsiteY112" fmla="*/ 99590 h 181943"/>
                  <a:gd name="connsiteX113" fmla="*/ 26199 w 70928"/>
                  <a:gd name="connsiteY113" fmla="*/ 99590 h 181943"/>
                  <a:gd name="connsiteX114" fmla="*/ 27477 w 70928"/>
                  <a:gd name="connsiteY114" fmla="*/ 106613 h 181943"/>
                  <a:gd name="connsiteX115" fmla="*/ 26199 w 70928"/>
                  <a:gd name="connsiteY115" fmla="*/ 108528 h 181943"/>
                  <a:gd name="connsiteX116" fmla="*/ 24282 w 70928"/>
                  <a:gd name="connsiteY116" fmla="*/ 109805 h 181943"/>
                  <a:gd name="connsiteX117" fmla="*/ 21726 w 70928"/>
                  <a:gd name="connsiteY117" fmla="*/ 110443 h 181943"/>
                  <a:gd name="connsiteX118" fmla="*/ 19170 w 70928"/>
                  <a:gd name="connsiteY118" fmla="*/ 109805 h 181943"/>
                  <a:gd name="connsiteX119" fmla="*/ 15975 w 70928"/>
                  <a:gd name="connsiteY119" fmla="*/ 106613 h 181943"/>
                  <a:gd name="connsiteX120" fmla="*/ 15336 w 70928"/>
                  <a:gd name="connsiteY120" fmla="*/ 104059 h 181943"/>
                  <a:gd name="connsiteX121" fmla="*/ 17253 w 70928"/>
                  <a:gd name="connsiteY121" fmla="*/ 100229 h 181943"/>
                  <a:gd name="connsiteX122" fmla="*/ 17253 w 70928"/>
                  <a:gd name="connsiteY122" fmla="*/ 99590 h 181943"/>
                  <a:gd name="connsiteX123" fmla="*/ 15336 w 70928"/>
                  <a:gd name="connsiteY123" fmla="*/ 130233 h 181943"/>
                  <a:gd name="connsiteX124" fmla="*/ 15975 w 70928"/>
                  <a:gd name="connsiteY124" fmla="*/ 128957 h 181943"/>
                  <a:gd name="connsiteX125" fmla="*/ 17253 w 70928"/>
                  <a:gd name="connsiteY125" fmla="*/ 127041 h 181943"/>
                  <a:gd name="connsiteX126" fmla="*/ 23004 w 70928"/>
                  <a:gd name="connsiteY126" fmla="*/ 125126 h 181943"/>
                  <a:gd name="connsiteX127" fmla="*/ 25560 w 70928"/>
                  <a:gd name="connsiteY127" fmla="*/ 125765 h 181943"/>
                  <a:gd name="connsiteX128" fmla="*/ 26199 w 70928"/>
                  <a:gd name="connsiteY128" fmla="*/ 126403 h 181943"/>
                  <a:gd name="connsiteX129" fmla="*/ 28116 w 70928"/>
                  <a:gd name="connsiteY129" fmla="*/ 130872 h 181943"/>
                  <a:gd name="connsiteX130" fmla="*/ 27477 w 70928"/>
                  <a:gd name="connsiteY130" fmla="*/ 133425 h 181943"/>
                  <a:gd name="connsiteX131" fmla="*/ 26199 w 70928"/>
                  <a:gd name="connsiteY131" fmla="*/ 135341 h 181943"/>
                  <a:gd name="connsiteX132" fmla="*/ 21726 w 70928"/>
                  <a:gd name="connsiteY132" fmla="*/ 137256 h 181943"/>
                  <a:gd name="connsiteX133" fmla="*/ 17253 w 70928"/>
                  <a:gd name="connsiteY133" fmla="*/ 135341 h 181943"/>
                  <a:gd name="connsiteX134" fmla="*/ 15975 w 70928"/>
                  <a:gd name="connsiteY134" fmla="*/ 133425 h 181943"/>
                  <a:gd name="connsiteX135" fmla="*/ 15336 w 70928"/>
                  <a:gd name="connsiteY135" fmla="*/ 130872 h 181943"/>
                  <a:gd name="connsiteX136" fmla="*/ 15336 w 70928"/>
                  <a:gd name="connsiteY136" fmla="*/ 130233 h 181943"/>
                  <a:gd name="connsiteX137" fmla="*/ 15336 w 70928"/>
                  <a:gd name="connsiteY137" fmla="*/ 130233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70928" h="181943">
                    <a:moveTo>
                      <a:pt x="15336" y="160238"/>
                    </a:moveTo>
                    <a:cubicBezTo>
                      <a:pt x="15336" y="156408"/>
                      <a:pt x="17892" y="153854"/>
                      <a:pt x="21726" y="153854"/>
                    </a:cubicBezTo>
                    <a:cubicBezTo>
                      <a:pt x="25560" y="153854"/>
                      <a:pt x="28116" y="156408"/>
                      <a:pt x="28116" y="160238"/>
                    </a:cubicBezTo>
                    <a:lnTo>
                      <a:pt x="28116" y="181944"/>
                    </a:lnTo>
                    <a:lnTo>
                      <a:pt x="70928" y="181944"/>
                    </a:lnTo>
                    <a:lnTo>
                      <a:pt x="70928" y="0"/>
                    </a:lnTo>
                    <a:lnTo>
                      <a:pt x="0" y="0"/>
                    </a:lnTo>
                    <a:lnTo>
                      <a:pt x="0" y="181944"/>
                    </a:lnTo>
                    <a:lnTo>
                      <a:pt x="15336" y="181944"/>
                    </a:lnTo>
                    <a:lnTo>
                      <a:pt x="15336" y="160238"/>
                    </a:lnTo>
                    <a:close/>
                    <a:moveTo>
                      <a:pt x="43451" y="18514"/>
                    </a:moveTo>
                    <a:cubicBezTo>
                      <a:pt x="44091" y="17875"/>
                      <a:pt x="44091" y="17237"/>
                      <a:pt x="44730" y="16598"/>
                    </a:cubicBezTo>
                    <a:cubicBezTo>
                      <a:pt x="46646" y="14683"/>
                      <a:pt x="49203" y="14045"/>
                      <a:pt x="51759" y="15322"/>
                    </a:cubicBezTo>
                    <a:cubicBezTo>
                      <a:pt x="52398" y="15322"/>
                      <a:pt x="53036" y="15960"/>
                      <a:pt x="53675" y="16598"/>
                    </a:cubicBezTo>
                    <a:cubicBezTo>
                      <a:pt x="54954" y="17875"/>
                      <a:pt x="55593" y="19152"/>
                      <a:pt x="55593" y="21067"/>
                    </a:cubicBezTo>
                    <a:cubicBezTo>
                      <a:pt x="55593" y="24897"/>
                      <a:pt x="53036" y="27451"/>
                      <a:pt x="49203" y="27451"/>
                    </a:cubicBezTo>
                    <a:cubicBezTo>
                      <a:pt x="45369" y="27451"/>
                      <a:pt x="42813" y="24897"/>
                      <a:pt x="42813" y="21067"/>
                    </a:cubicBezTo>
                    <a:cubicBezTo>
                      <a:pt x="43451" y="19790"/>
                      <a:pt x="43451" y="19152"/>
                      <a:pt x="43451" y="18514"/>
                    </a:cubicBezTo>
                    <a:close/>
                    <a:moveTo>
                      <a:pt x="43451" y="45965"/>
                    </a:moveTo>
                    <a:cubicBezTo>
                      <a:pt x="44091" y="45326"/>
                      <a:pt x="44091" y="44688"/>
                      <a:pt x="44730" y="44049"/>
                    </a:cubicBezTo>
                    <a:cubicBezTo>
                      <a:pt x="46008" y="42773"/>
                      <a:pt x="48564" y="42134"/>
                      <a:pt x="50480" y="42134"/>
                    </a:cubicBezTo>
                    <a:lnTo>
                      <a:pt x="51759" y="42134"/>
                    </a:lnTo>
                    <a:cubicBezTo>
                      <a:pt x="52398" y="42134"/>
                      <a:pt x="52398" y="42773"/>
                      <a:pt x="53036" y="42773"/>
                    </a:cubicBezTo>
                    <a:cubicBezTo>
                      <a:pt x="53675" y="42773"/>
                      <a:pt x="53675" y="43411"/>
                      <a:pt x="53675" y="43411"/>
                    </a:cubicBezTo>
                    <a:cubicBezTo>
                      <a:pt x="54314" y="44049"/>
                      <a:pt x="54954" y="44688"/>
                      <a:pt x="54954" y="45326"/>
                    </a:cubicBezTo>
                    <a:cubicBezTo>
                      <a:pt x="55593" y="45965"/>
                      <a:pt x="55593" y="47241"/>
                      <a:pt x="55593" y="47880"/>
                    </a:cubicBezTo>
                    <a:cubicBezTo>
                      <a:pt x="55593" y="48518"/>
                      <a:pt x="55593" y="49795"/>
                      <a:pt x="54954" y="50433"/>
                    </a:cubicBezTo>
                    <a:cubicBezTo>
                      <a:pt x="54314" y="51710"/>
                      <a:pt x="53036" y="52987"/>
                      <a:pt x="51759" y="53625"/>
                    </a:cubicBezTo>
                    <a:cubicBezTo>
                      <a:pt x="51119" y="54264"/>
                      <a:pt x="50480" y="54264"/>
                      <a:pt x="49203" y="54264"/>
                    </a:cubicBezTo>
                    <a:cubicBezTo>
                      <a:pt x="48564" y="54264"/>
                      <a:pt x="47285" y="54264"/>
                      <a:pt x="46646" y="53625"/>
                    </a:cubicBezTo>
                    <a:cubicBezTo>
                      <a:pt x="46008" y="53625"/>
                      <a:pt x="45369" y="52987"/>
                      <a:pt x="44730" y="52349"/>
                    </a:cubicBezTo>
                    <a:cubicBezTo>
                      <a:pt x="43451" y="51072"/>
                      <a:pt x="42813" y="49795"/>
                      <a:pt x="42813" y="47880"/>
                    </a:cubicBezTo>
                    <a:cubicBezTo>
                      <a:pt x="43451" y="47880"/>
                      <a:pt x="43451" y="47241"/>
                      <a:pt x="43451" y="45965"/>
                    </a:cubicBezTo>
                    <a:lnTo>
                      <a:pt x="43451" y="45965"/>
                    </a:lnTo>
                    <a:close/>
                    <a:moveTo>
                      <a:pt x="45369" y="71501"/>
                    </a:moveTo>
                    <a:cubicBezTo>
                      <a:pt x="47285" y="69585"/>
                      <a:pt x="49841" y="68947"/>
                      <a:pt x="52398" y="70224"/>
                    </a:cubicBezTo>
                    <a:cubicBezTo>
                      <a:pt x="53036" y="70224"/>
                      <a:pt x="53675" y="70862"/>
                      <a:pt x="54314" y="71501"/>
                    </a:cubicBezTo>
                    <a:cubicBezTo>
                      <a:pt x="55593" y="72777"/>
                      <a:pt x="56231" y="74054"/>
                      <a:pt x="56231" y="75969"/>
                    </a:cubicBezTo>
                    <a:cubicBezTo>
                      <a:pt x="56231" y="77885"/>
                      <a:pt x="55593" y="79161"/>
                      <a:pt x="54314" y="80438"/>
                    </a:cubicBezTo>
                    <a:cubicBezTo>
                      <a:pt x="53036" y="81715"/>
                      <a:pt x="51759" y="82353"/>
                      <a:pt x="49841" y="82353"/>
                    </a:cubicBezTo>
                    <a:cubicBezTo>
                      <a:pt x="46008" y="82353"/>
                      <a:pt x="43451" y="79800"/>
                      <a:pt x="43451" y="75969"/>
                    </a:cubicBezTo>
                    <a:cubicBezTo>
                      <a:pt x="43451" y="74693"/>
                      <a:pt x="44091" y="73416"/>
                      <a:pt x="45369" y="71501"/>
                    </a:cubicBezTo>
                    <a:lnTo>
                      <a:pt x="45369" y="71501"/>
                    </a:lnTo>
                    <a:close/>
                    <a:moveTo>
                      <a:pt x="45369" y="99590"/>
                    </a:moveTo>
                    <a:cubicBezTo>
                      <a:pt x="47925" y="97037"/>
                      <a:pt x="51759" y="97037"/>
                      <a:pt x="54314" y="99590"/>
                    </a:cubicBezTo>
                    <a:cubicBezTo>
                      <a:pt x="56231" y="101505"/>
                      <a:pt x="56870" y="104059"/>
                      <a:pt x="55593" y="106613"/>
                    </a:cubicBezTo>
                    <a:cubicBezTo>
                      <a:pt x="54954" y="107889"/>
                      <a:pt x="53675" y="109166"/>
                      <a:pt x="52398" y="109805"/>
                    </a:cubicBezTo>
                    <a:cubicBezTo>
                      <a:pt x="51759" y="110443"/>
                      <a:pt x="51119" y="110443"/>
                      <a:pt x="49841" y="110443"/>
                    </a:cubicBezTo>
                    <a:cubicBezTo>
                      <a:pt x="49203" y="110443"/>
                      <a:pt x="47925" y="110443"/>
                      <a:pt x="47285" y="109805"/>
                    </a:cubicBezTo>
                    <a:cubicBezTo>
                      <a:pt x="46646" y="109805"/>
                      <a:pt x="46008" y="109166"/>
                      <a:pt x="45369" y="108528"/>
                    </a:cubicBezTo>
                    <a:cubicBezTo>
                      <a:pt x="44730" y="107889"/>
                      <a:pt x="44091" y="107251"/>
                      <a:pt x="44091" y="106613"/>
                    </a:cubicBezTo>
                    <a:cubicBezTo>
                      <a:pt x="42813" y="104059"/>
                      <a:pt x="43451" y="101505"/>
                      <a:pt x="45369" y="99590"/>
                    </a:cubicBezTo>
                    <a:lnTo>
                      <a:pt x="45369" y="99590"/>
                    </a:lnTo>
                    <a:close/>
                    <a:moveTo>
                      <a:pt x="43451" y="130872"/>
                    </a:moveTo>
                    <a:cubicBezTo>
                      <a:pt x="43451" y="129595"/>
                      <a:pt x="44091" y="128318"/>
                      <a:pt x="45369" y="127680"/>
                    </a:cubicBezTo>
                    <a:cubicBezTo>
                      <a:pt x="46646" y="126403"/>
                      <a:pt x="49203" y="125765"/>
                      <a:pt x="51119" y="125765"/>
                    </a:cubicBezTo>
                    <a:cubicBezTo>
                      <a:pt x="51759" y="125765"/>
                      <a:pt x="51759" y="125765"/>
                      <a:pt x="52398" y="126403"/>
                    </a:cubicBezTo>
                    <a:cubicBezTo>
                      <a:pt x="53036" y="126403"/>
                      <a:pt x="53036" y="127041"/>
                      <a:pt x="53675" y="127041"/>
                    </a:cubicBezTo>
                    <a:lnTo>
                      <a:pt x="54314" y="127680"/>
                    </a:lnTo>
                    <a:cubicBezTo>
                      <a:pt x="55593" y="128957"/>
                      <a:pt x="56231" y="130233"/>
                      <a:pt x="56231" y="132149"/>
                    </a:cubicBezTo>
                    <a:cubicBezTo>
                      <a:pt x="56231" y="135979"/>
                      <a:pt x="53675" y="138533"/>
                      <a:pt x="49841" y="138533"/>
                    </a:cubicBezTo>
                    <a:cubicBezTo>
                      <a:pt x="49203" y="138533"/>
                      <a:pt x="47925" y="138533"/>
                      <a:pt x="47285" y="137894"/>
                    </a:cubicBezTo>
                    <a:cubicBezTo>
                      <a:pt x="46646" y="137894"/>
                      <a:pt x="46008" y="137256"/>
                      <a:pt x="45369" y="136617"/>
                    </a:cubicBezTo>
                    <a:cubicBezTo>
                      <a:pt x="44730" y="135979"/>
                      <a:pt x="44091" y="135341"/>
                      <a:pt x="44091" y="134702"/>
                    </a:cubicBezTo>
                    <a:cubicBezTo>
                      <a:pt x="44091" y="134064"/>
                      <a:pt x="43451" y="133425"/>
                      <a:pt x="43451" y="132149"/>
                    </a:cubicBezTo>
                    <a:cubicBezTo>
                      <a:pt x="43451" y="131510"/>
                      <a:pt x="43451" y="131510"/>
                      <a:pt x="43451" y="130872"/>
                    </a:cubicBezTo>
                    <a:lnTo>
                      <a:pt x="43451" y="130872"/>
                    </a:lnTo>
                    <a:close/>
                    <a:moveTo>
                      <a:pt x="43451" y="157684"/>
                    </a:moveTo>
                    <a:cubicBezTo>
                      <a:pt x="44091" y="157046"/>
                      <a:pt x="44091" y="156408"/>
                      <a:pt x="44730" y="155769"/>
                    </a:cubicBezTo>
                    <a:cubicBezTo>
                      <a:pt x="47285" y="153216"/>
                      <a:pt x="51119" y="153216"/>
                      <a:pt x="53675" y="155769"/>
                    </a:cubicBezTo>
                    <a:cubicBezTo>
                      <a:pt x="54314" y="156408"/>
                      <a:pt x="54954" y="157046"/>
                      <a:pt x="54954" y="157684"/>
                    </a:cubicBezTo>
                    <a:cubicBezTo>
                      <a:pt x="55593" y="158323"/>
                      <a:pt x="55593" y="159600"/>
                      <a:pt x="55593" y="160238"/>
                    </a:cubicBezTo>
                    <a:cubicBezTo>
                      <a:pt x="55593" y="162153"/>
                      <a:pt x="54954" y="163430"/>
                      <a:pt x="53675" y="164707"/>
                    </a:cubicBezTo>
                    <a:cubicBezTo>
                      <a:pt x="53036" y="165345"/>
                      <a:pt x="52398" y="165984"/>
                      <a:pt x="51759" y="165984"/>
                    </a:cubicBezTo>
                    <a:cubicBezTo>
                      <a:pt x="48564" y="167260"/>
                      <a:pt x="44730" y="165984"/>
                      <a:pt x="43451" y="162792"/>
                    </a:cubicBezTo>
                    <a:cubicBezTo>
                      <a:pt x="43451" y="162153"/>
                      <a:pt x="42813" y="161515"/>
                      <a:pt x="42813" y="160238"/>
                    </a:cubicBezTo>
                    <a:cubicBezTo>
                      <a:pt x="43451" y="158961"/>
                      <a:pt x="43451" y="158323"/>
                      <a:pt x="43451" y="157684"/>
                    </a:cubicBezTo>
                    <a:lnTo>
                      <a:pt x="43451" y="157684"/>
                    </a:lnTo>
                    <a:close/>
                    <a:moveTo>
                      <a:pt x="17253" y="15960"/>
                    </a:moveTo>
                    <a:cubicBezTo>
                      <a:pt x="17892" y="15322"/>
                      <a:pt x="18531" y="14683"/>
                      <a:pt x="19170" y="14683"/>
                    </a:cubicBezTo>
                    <a:cubicBezTo>
                      <a:pt x="21726" y="13406"/>
                      <a:pt x="24282" y="14045"/>
                      <a:pt x="26199" y="15960"/>
                    </a:cubicBezTo>
                    <a:cubicBezTo>
                      <a:pt x="26838" y="16598"/>
                      <a:pt x="27477" y="17237"/>
                      <a:pt x="27477" y="17875"/>
                    </a:cubicBezTo>
                    <a:cubicBezTo>
                      <a:pt x="28755" y="20429"/>
                      <a:pt x="28116" y="22982"/>
                      <a:pt x="26199" y="24897"/>
                    </a:cubicBezTo>
                    <a:cubicBezTo>
                      <a:pt x="25560" y="25536"/>
                      <a:pt x="24921" y="26174"/>
                      <a:pt x="24282" y="26174"/>
                    </a:cubicBezTo>
                    <a:cubicBezTo>
                      <a:pt x="23643" y="26174"/>
                      <a:pt x="23004" y="26813"/>
                      <a:pt x="21726" y="26813"/>
                    </a:cubicBezTo>
                    <a:cubicBezTo>
                      <a:pt x="19809" y="26813"/>
                      <a:pt x="18531" y="26174"/>
                      <a:pt x="17253" y="24897"/>
                    </a:cubicBezTo>
                    <a:cubicBezTo>
                      <a:pt x="15975" y="23621"/>
                      <a:pt x="15336" y="22344"/>
                      <a:pt x="15336" y="20429"/>
                    </a:cubicBezTo>
                    <a:cubicBezTo>
                      <a:pt x="15336" y="19152"/>
                      <a:pt x="15975" y="17237"/>
                      <a:pt x="17253" y="15960"/>
                    </a:cubicBezTo>
                    <a:lnTo>
                      <a:pt x="17253" y="15960"/>
                    </a:lnTo>
                    <a:close/>
                    <a:moveTo>
                      <a:pt x="15975" y="45965"/>
                    </a:moveTo>
                    <a:cubicBezTo>
                      <a:pt x="15975" y="45326"/>
                      <a:pt x="16614" y="44688"/>
                      <a:pt x="17253" y="44049"/>
                    </a:cubicBezTo>
                    <a:cubicBezTo>
                      <a:pt x="19809" y="41496"/>
                      <a:pt x="23643" y="41496"/>
                      <a:pt x="26199" y="44049"/>
                    </a:cubicBezTo>
                    <a:cubicBezTo>
                      <a:pt x="26838" y="44688"/>
                      <a:pt x="27477" y="45326"/>
                      <a:pt x="27477" y="45965"/>
                    </a:cubicBezTo>
                    <a:cubicBezTo>
                      <a:pt x="27477" y="46603"/>
                      <a:pt x="28116" y="47880"/>
                      <a:pt x="28116" y="48518"/>
                    </a:cubicBezTo>
                    <a:cubicBezTo>
                      <a:pt x="28116" y="50433"/>
                      <a:pt x="27477" y="51710"/>
                      <a:pt x="26199" y="52987"/>
                    </a:cubicBezTo>
                    <a:cubicBezTo>
                      <a:pt x="25560" y="53625"/>
                      <a:pt x="24921" y="54264"/>
                      <a:pt x="24282" y="54264"/>
                    </a:cubicBezTo>
                    <a:cubicBezTo>
                      <a:pt x="23643" y="54902"/>
                      <a:pt x="22365" y="54902"/>
                      <a:pt x="21726" y="54902"/>
                    </a:cubicBezTo>
                    <a:cubicBezTo>
                      <a:pt x="21087" y="54902"/>
                      <a:pt x="19809" y="54902"/>
                      <a:pt x="19170" y="54264"/>
                    </a:cubicBezTo>
                    <a:cubicBezTo>
                      <a:pt x="17892" y="53625"/>
                      <a:pt x="16614" y="52349"/>
                      <a:pt x="15975" y="51072"/>
                    </a:cubicBezTo>
                    <a:cubicBezTo>
                      <a:pt x="15336" y="50433"/>
                      <a:pt x="15336" y="49795"/>
                      <a:pt x="15336" y="48518"/>
                    </a:cubicBezTo>
                    <a:cubicBezTo>
                      <a:pt x="15336" y="47880"/>
                      <a:pt x="15336" y="47241"/>
                      <a:pt x="15975" y="45965"/>
                    </a:cubicBezTo>
                    <a:lnTo>
                      <a:pt x="15975" y="45965"/>
                    </a:lnTo>
                    <a:close/>
                    <a:moveTo>
                      <a:pt x="17253" y="71501"/>
                    </a:moveTo>
                    <a:cubicBezTo>
                      <a:pt x="17892" y="70862"/>
                      <a:pt x="18531" y="70862"/>
                      <a:pt x="19170" y="70862"/>
                    </a:cubicBezTo>
                    <a:cubicBezTo>
                      <a:pt x="21726" y="69585"/>
                      <a:pt x="24282" y="70224"/>
                      <a:pt x="26199" y="72139"/>
                    </a:cubicBezTo>
                    <a:cubicBezTo>
                      <a:pt x="27477" y="73416"/>
                      <a:pt x="28116" y="74693"/>
                      <a:pt x="28116" y="76608"/>
                    </a:cubicBezTo>
                    <a:cubicBezTo>
                      <a:pt x="28116" y="80438"/>
                      <a:pt x="25560" y="82992"/>
                      <a:pt x="21726" y="82992"/>
                    </a:cubicBezTo>
                    <a:cubicBezTo>
                      <a:pt x="21087" y="82992"/>
                      <a:pt x="19809" y="82992"/>
                      <a:pt x="19170" y="82353"/>
                    </a:cubicBezTo>
                    <a:cubicBezTo>
                      <a:pt x="18531" y="81715"/>
                      <a:pt x="17892" y="81715"/>
                      <a:pt x="17253" y="81077"/>
                    </a:cubicBezTo>
                    <a:cubicBezTo>
                      <a:pt x="15975" y="79800"/>
                      <a:pt x="15336" y="78523"/>
                      <a:pt x="15336" y="76608"/>
                    </a:cubicBezTo>
                    <a:cubicBezTo>
                      <a:pt x="15336" y="74693"/>
                      <a:pt x="15975" y="73416"/>
                      <a:pt x="17253" y="72139"/>
                    </a:cubicBezTo>
                    <a:lnTo>
                      <a:pt x="17253" y="71501"/>
                    </a:lnTo>
                    <a:close/>
                    <a:moveTo>
                      <a:pt x="17253" y="99590"/>
                    </a:moveTo>
                    <a:cubicBezTo>
                      <a:pt x="19809" y="97037"/>
                      <a:pt x="23643" y="97037"/>
                      <a:pt x="26199" y="99590"/>
                    </a:cubicBezTo>
                    <a:cubicBezTo>
                      <a:pt x="28116" y="101505"/>
                      <a:pt x="28755" y="104059"/>
                      <a:pt x="27477" y="106613"/>
                    </a:cubicBezTo>
                    <a:cubicBezTo>
                      <a:pt x="26838" y="107251"/>
                      <a:pt x="26838" y="107889"/>
                      <a:pt x="26199" y="108528"/>
                    </a:cubicBezTo>
                    <a:cubicBezTo>
                      <a:pt x="25560" y="109166"/>
                      <a:pt x="24921" y="109805"/>
                      <a:pt x="24282" y="109805"/>
                    </a:cubicBezTo>
                    <a:cubicBezTo>
                      <a:pt x="23643" y="110443"/>
                      <a:pt x="22365" y="110443"/>
                      <a:pt x="21726" y="110443"/>
                    </a:cubicBezTo>
                    <a:cubicBezTo>
                      <a:pt x="21087" y="110443"/>
                      <a:pt x="19809" y="110443"/>
                      <a:pt x="19170" y="109805"/>
                    </a:cubicBezTo>
                    <a:cubicBezTo>
                      <a:pt x="17892" y="109166"/>
                      <a:pt x="16614" y="107889"/>
                      <a:pt x="15975" y="106613"/>
                    </a:cubicBezTo>
                    <a:cubicBezTo>
                      <a:pt x="15336" y="105974"/>
                      <a:pt x="15336" y="105336"/>
                      <a:pt x="15336" y="104059"/>
                    </a:cubicBezTo>
                    <a:cubicBezTo>
                      <a:pt x="15336" y="102782"/>
                      <a:pt x="15975" y="101505"/>
                      <a:pt x="17253" y="100229"/>
                    </a:cubicBezTo>
                    <a:lnTo>
                      <a:pt x="17253" y="99590"/>
                    </a:lnTo>
                    <a:close/>
                    <a:moveTo>
                      <a:pt x="15336" y="130233"/>
                    </a:moveTo>
                    <a:lnTo>
                      <a:pt x="15975" y="128957"/>
                    </a:lnTo>
                    <a:cubicBezTo>
                      <a:pt x="15975" y="128318"/>
                      <a:pt x="16614" y="127680"/>
                      <a:pt x="17253" y="127041"/>
                    </a:cubicBezTo>
                    <a:cubicBezTo>
                      <a:pt x="18531" y="125765"/>
                      <a:pt x="21087" y="125126"/>
                      <a:pt x="23004" y="125126"/>
                    </a:cubicBezTo>
                    <a:cubicBezTo>
                      <a:pt x="23643" y="125126"/>
                      <a:pt x="24921" y="125765"/>
                      <a:pt x="25560" y="125765"/>
                    </a:cubicBezTo>
                    <a:lnTo>
                      <a:pt x="26199" y="126403"/>
                    </a:lnTo>
                    <a:cubicBezTo>
                      <a:pt x="27477" y="127680"/>
                      <a:pt x="28116" y="128957"/>
                      <a:pt x="28116" y="130872"/>
                    </a:cubicBezTo>
                    <a:cubicBezTo>
                      <a:pt x="28116" y="131510"/>
                      <a:pt x="28116" y="132787"/>
                      <a:pt x="27477" y="133425"/>
                    </a:cubicBezTo>
                    <a:cubicBezTo>
                      <a:pt x="26838" y="134064"/>
                      <a:pt x="26838" y="134702"/>
                      <a:pt x="26199" y="135341"/>
                    </a:cubicBezTo>
                    <a:cubicBezTo>
                      <a:pt x="24921" y="136617"/>
                      <a:pt x="23643" y="137256"/>
                      <a:pt x="21726" y="137256"/>
                    </a:cubicBezTo>
                    <a:cubicBezTo>
                      <a:pt x="19809" y="137256"/>
                      <a:pt x="18531" y="136617"/>
                      <a:pt x="17253" y="135341"/>
                    </a:cubicBezTo>
                    <a:cubicBezTo>
                      <a:pt x="16614" y="134702"/>
                      <a:pt x="15975" y="134064"/>
                      <a:pt x="15975" y="133425"/>
                    </a:cubicBezTo>
                    <a:cubicBezTo>
                      <a:pt x="15336" y="132787"/>
                      <a:pt x="15336" y="132149"/>
                      <a:pt x="15336" y="130872"/>
                    </a:cubicBezTo>
                    <a:cubicBezTo>
                      <a:pt x="15336" y="130872"/>
                      <a:pt x="15336" y="130233"/>
                      <a:pt x="15336" y="130233"/>
                    </a:cubicBezTo>
                    <a:lnTo>
                      <a:pt x="15336" y="130233"/>
                    </a:lnTo>
                    <a:close/>
                  </a:path>
                </a:pathLst>
              </a:custGeom>
              <a:grpFill/>
              <a:ln w="6390"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CE0C4E55-5B38-C4C5-9BCB-C358386A65BB}"/>
                  </a:ext>
                </a:extLst>
              </p:cNvPr>
              <p:cNvSpPr/>
              <p:nvPr/>
            </p:nvSpPr>
            <p:spPr>
              <a:xfrm>
                <a:off x="2154047" y="2031545"/>
                <a:ext cx="43451" cy="126402"/>
              </a:xfrm>
              <a:custGeom>
                <a:avLst/>
                <a:gdLst>
                  <a:gd name="connsiteX0" fmla="*/ 0 w 43451"/>
                  <a:gd name="connsiteY0" fmla="*/ 126403 h 126402"/>
                  <a:gd name="connsiteX1" fmla="*/ 15336 w 43451"/>
                  <a:gd name="connsiteY1" fmla="*/ 126403 h 126402"/>
                  <a:gd name="connsiteX2" fmla="*/ 15336 w 43451"/>
                  <a:gd name="connsiteY2" fmla="*/ 104697 h 126402"/>
                  <a:gd name="connsiteX3" fmla="*/ 21726 w 43451"/>
                  <a:gd name="connsiteY3" fmla="*/ 98313 h 126402"/>
                  <a:gd name="connsiteX4" fmla="*/ 28116 w 43451"/>
                  <a:gd name="connsiteY4" fmla="*/ 104697 h 126402"/>
                  <a:gd name="connsiteX5" fmla="*/ 28116 w 43451"/>
                  <a:gd name="connsiteY5" fmla="*/ 126403 h 126402"/>
                  <a:gd name="connsiteX6" fmla="*/ 43451 w 43451"/>
                  <a:gd name="connsiteY6" fmla="*/ 126403 h 126402"/>
                  <a:gd name="connsiteX7" fmla="*/ 43451 w 43451"/>
                  <a:gd name="connsiteY7" fmla="*/ 0 h 126402"/>
                  <a:gd name="connsiteX8" fmla="*/ 639 w 43451"/>
                  <a:gd name="connsiteY8" fmla="*/ 0 h 126402"/>
                  <a:gd name="connsiteX9" fmla="*/ 0 w 43451"/>
                  <a:gd name="connsiteY9" fmla="*/ 126403 h 126402"/>
                  <a:gd name="connsiteX10" fmla="*/ 17253 w 43451"/>
                  <a:gd name="connsiteY10" fmla="*/ 16598 h 126402"/>
                  <a:gd name="connsiteX11" fmla="*/ 26199 w 43451"/>
                  <a:gd name="connsiteY11" fmla="*/ 16598 h 126402"/>
                  <a:gd name="connsiteX12" fmla="*/ 28116 w 43451"/>
                  <a:gd name="connsiteY12" fmla="*/ 21067 h 126402"/>
                  <a:gd name="connsiteX13" fmla="*/ 26199 w 43451"/>
                  <a:gd name="connsiteY13" fmla="*/ 25536 h 126402"/>
                  <a:gd name="connsiteX14" fmla="*/ 21726 w 43451"/>
                  <a:gd name="connsiteY14" fmla="*/ 27451 h 126402"/>
                  <a:gd name="connsiteX15" fmla="*/ 15336 w 43451"/>
                  <a:gd name="connsiteY15" fmla="*/ 21067 h 126402"/>
                  <a:gd name="connsiteX16" fmla="*/ 17253 w 43451"/>
                  <a:gd name="connsiteY16" fmla="*/ 16598 h 126402"/>
                  <a:gd name="connsiteX17" fmla="*/ 17253 w 43451"/>
                  <a:gd name="connsiteY17" fmla="*/ 44688 h 126402"/>
                  <a:gd name="connsiteX18" fmla="*/ 23004 w 43451"/>
                  <a:gd name="connsiteY18" fmla="*/ 42773 h 126402"/>
                  <a:gd name="connsiteX19" fmla="*/ 24282 w 43451"/>
                  <a:gd name="connsiteY19" fmla="*/ 42773 h 126402"/>
                  <a:gd name="connsiteX20" fmla="*/ 25560 w 43451"/>
                  <a:gd name="connsiteY20" fmla="*/ 43411 h 126402"/>
                  <a:gd name="connsiteX21" fmla="*/ 26199 w 43451"/>
                  <a:gd name="connsiteY21" fmla="*/ 44049 h 126402"/>
                  <a:gd name="connsiteX22" fmla="*/ 27477 w 43451"/>
                  <a:gd name="connsiteY22" fmla="*/ 45965 h 126402"/>
                  <a:gd name="connsiteX23" fmla="*/ 28116 w 43451"/>
                  <a:gd name="connsiteY23" fmla="*/ 47241 h 126402"/>
                  <a:gd name="connsiteX24" fmla="*/ 28116 w 43451"/>
                  <a:gd name="connsiteY24" fmla="*/ 48518 h 126402"/>
                  <a:gd name="connsiteX25" fmla="*/ 27477 w 43451"/>
                  <a:gd name="connsiteY25" fmla="*/ 51072 h 126402"/>
                  <a:gd name="connsiteX26" fmla="*/ 24282 w 43451"/>
                  <a:gd name="connsiteY26" fmla="*/ 54264 h 126402"/>
                  <a:gd name="connsiteX27" fmla="*/ 21726 w 43451"/>
                  <a:gd name="connsiteY27" fmla="*/ 54902 h 126402"/>
                  <a:gd name="connsiteX28" fmla="*/ 19170 w 43451"/>
                  <a:gd name="connsiteY28" fmla="*/ 54264 h 126402"/>
                  <a:gd name="connsiteX29" fmla="*/ 17253 w 43451"/>
                  <a:gd name="connsiteY29" fmla="*/ 52987 h 126402"/>
                  <a:gd name="connsiteX30" fmla="*/ 15975 w 43451"/>
                  <a:gd name="connsiteY30" fmla="*/ 51072 h 126402"/>
                  <a:gd name="connsiteX31" fmla="*/ 15336 w 43451"/>
                  <a:gd name="connsiteY31" fmla="*/ 48518 h 126402"/>
                  <a:gd name="connsiteX32" fmla="*/ 17253 w 43451"/>
                  <a:gd name="connsiteY32" fmla="*/ 44688 h 126402"/>
                  <a:gd name="connsiteX33" fmla="*/ 17253 w 43451"/>
                  <a:gd name="connsiteY33" fmla="*/ 44688 h 126402"/>
                  <a:gd name="connsiteX34" fmla="*/ 17253 w 43451"/>
                  <a:gd name="connsiteY34" fmla="*/ 72139 h 126402"/>
                  <a:gd name="connsiteX35" fmla="*/ 26199 w 43451"/>
                  <a:gd name="connsiteY35" fmla="*/ 72139 h 126402"/>
                  <a:gd name="connsiteX36" fmla="*/ 28116 w 43451"/>
                  <a:gd name="connsiteY36" fmla="*/ 76608 h 126402"/>
                  <a:gd name="connsiteX37" fmla="*/ 27477 w 43451"/>
                  <a:gd name="connsiteY37" fmla="*/ 79161 h 126402"/>
                  <a:gd name="connsiteX38" fmla="*/ 26199 w 43451"/>
                  <a:gd name="connsiteY38" fmla="*/ 81076 h 126402"/>
                  <a:gd name="connsiteX39" fmla="*/ 21726 w 43451"/>
                  <a:gd name="connsiteY39" fmla="*/ 82992 h 126402"/>
                  <a:gd name="connsiteX40" fmla="*/ 15336 w 43451"/>
                  <a:gd name="connsiteY40" fmla="*/ 76608 h 126402"/>
                  <a:gd name="connsiteX41" fmla="*/ 17253 w 43451"/>
                  <a:gd name="connsiteY41" fmla="*/ 72139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51" h="126402">
                    <a:moveTo>
                      <a:pt x="0" y="126403"/>
                    </a:moveTo>
                    <a:lnTo>
                      <a:pt x="15336" y="126403"/>
                    </a:lnTo>
                    <a:lnTo>
                      <a:pt x="15336" y="104697"/>
                    </a:lnTo>
                    <a:cubicBezTo>
                      <a:pt x="15336" y="100867"/>
                      <a:pt x="17892" y="98313"/>
                      <a:pt x="21726" y="98313"/>
                    </a:cubicBezTo>
                    <a:cubicBezTo>
                      <a:pt x="25560" y="98313"/>
                      <a:pt x="28116" y="100867"/>
                      <a:pt x="28116" y="104697"/>
                    </a:cubicBezTo>
                    <a:lnTo>
                      <a:pt x="28116" y="126403"/>
                    </a:lnTo>
                    <a:lnTo>
                      <a:pt x="43451" y="126403"/>
                    </a:lnTo>
                    <a:lnTo>
                      <a:pt x="43451" y="0"/>
                    </a:lnTo>
                    <a:lnTo>
                      <a:pt x="639" y="0"/>
                    </a:lnTo>
                    <a:lnTo>
                      <a:pt x="0" y="126403"/>
                    </a:lnTo>
                    <a:close/>
                    <a:moveTo>
                      <a:pt x="17253" y="16598"/>
                    </a:moveTo>
                    <a:cubicBezTo>
                      <a:pt x="19809" y="14045"/>
                      <a:pt x="23643" y="14045"/>
                      <a:pt x="26199" y="16598"/>
                    </a:cubicBezTo>
                    <a:cubicBezTo>
                      <a:pt x="27477" y="17875"/>
                      <a:pt x="28116" y="19152"/>
                      <a:pt x="28116" y="21067"/>
                    </a:cubicBezTo>
                    <a:cubicBezTo>
                      <a:pt x="28116" y="22982"/>
                      <a:pt x="27477" y="24259"/>
                      <a:pt x="26199" y="25536"/>
                    </a:cubicBezTo>
                    <a:cubicBezTo>
                      <a:pt x="24921" y="26813"/>
                      <a:pt x="23643" y="27451"/>
                      <a:pt x="21726" y="27451"/>
                    </a:cubicBezTo>
                    <a:cubicBezTo>
                      <a:pt x="17892" y="27451"/>
                      <a:pt x="15336" y="24897"/>
                      <a:pt x="15336" y="21067"/>
                    </a:cubicBezTo>
                    <a:cubicBezTo>
                      <a:pt x="15336" y="19152"/>
                      <a:pt x="15975" y="17875"/>
                      <a:pt x="17253" y="16598"/>
                    </a:cubicBezTo>
                    <a:close/>
                    <a:moveTo>
                      <a:pt x="17253" y="44688"/>
                    </a:moveTo>
                    <a:cubicBezTo>
                      <a:pt x="18531" y="43411"/>
                      <a:pt x="21087" y="42773"/>
                      <a:pt x="23004" y="42773"/>
                    </a:cubicBezTo>
                    <a:lnTo>
                      <a:pt x="24282" y="42773"/>
                    </a:lnTo>
                    <a:cubicBezTo>
                      <a:pt x="24921" y="42773"/>
                      <a:pt x="24921" y="43411"/>
                      <a:pt x="25560" y="43411"/>
                    </a:cubicBezTo>
                    <a:cubicBezTo>
                      <a:pt x="26199" y="43411"/>
                      <a:pt x="26199" y="44049"/>
                      <a:pt x="26199" y="44049"/>
                    </a:cubicBezTo>
                    <a:cubicBezTo>
                      <a:pt x="26838" y="44688"/>
                      <a:pt x="27477" y="45326"/>
                      <a:pt x="27477" y="45965"/>
                    </a:cubicBezTo>
                    <a:cubicBezTo>
                      <a:pt x="27477" y="46603"/>
                      <a:pt x="27477" y="46603"/>
                      <a:pt x="28116" y="47241"/>
                    </a:cubicBezTo>
                    <a:cubicBezTo>
                      <a:pt x="28116" y="47880"/>
                      <a:pt x="28116" y="47880"/>
                      <a:pt x="28116" y="48518"/>
                    </a:cubicBezTo>
                    <a:cubicBezTo>
                      <a:pt x="28116" y="49157"/>
                      <a:pt x="28116" y="50433"/>
                      <a:pt x="27477" y="51072"/>
                    </a:cubicBezTo>
                    <a:cubicBezTo>
                      <a:pt x="26838" y="52349"/>
                      <a:pt x="25560" y="53625"/>
                      <a:pt x="24282" y="54264"/>
                    </a:cubicBezTo>
                    <a:cubicBezTo>
                      <a:pt x="23643" y="54902"/>
                      <a:pt x="23004" y="54902"/>
                      <a:pt x="21726" y="54902"/>
                    </a:cubicBezTo>
                    <a:cubicBezTo>
                      <a:pt x="21087" y="54902"/>
                      <a:pt x="19809" y="54902"/>
                      <a:pt x="19170" y="54264"/>
                    </a:cubicBezTo>
                    <a:cubicBezTo>
                      <a:pt x="18531" y="53625"/>
                      <a:pt x="17892" y="53625"/>
                      <a:pt x="17253" y="52987"/>
                    </a:cubicBezTo>
                    <a:cubicBezTo>
                      <a:pt x="16614" y="52349"/>
                      <a:pt x="15975" y="51710"/>
                      <a:pt x="15975" y="51072"/>
                    </a:cubicBezTo>
                    <a:cubicBezTo>
                      <a:pt x="15975" y="50433"/>
                      <a:pt x="15336" y="49795"/>
                      <a:pt x="15336" y="48518"/>
                    </a:cubicBezTo>
                    <a:cubicBezTo>
                      <a:pt x="15336" y="47241"/>
                      <a:pt x="15975" y="45965"/>
                      <a:pt x="17253" y="44688"/>
                    </a:cubicBezTo>
                    <a:lnTo>
                      <a:pt x="17253" y="44688"/>
                    </a:lnTo>
                    <a:close/>
                    <a:moveTo>
                      <a:pt x="17253" y="72139"/>
                    </a:moveTo>
                    <a:cubicBezTo>
                      <a:pt x="19809" y="69585"/>
                      <a:pt x="23643" y="69585"/>
                      <a:pt x="26199" y="72139"/>
                    </a:cubicBezTo>
                    <a:cubicBezTo>
                      <a:pt x="27477" y="73416"/>
                      <a:pt x="28116" y="74692"/>
                      <a:pt x="28116" y="76608"/>
                    </a:cubicBezTo>
                    <a:cubicBezTo>
                      <a:pt x="28116" y="77246"/>
                      <a:pt x="28116" y="78523"/>
                      <a:pt x="27477" y="79161"/>
                    </a:cubicBezTo>
                    <a:cubicBezTo>
                      <a:pt x="27477" y="79800"/>
                      <a:pt x="26838" y="80438"/>
                      <a:pt x="26199" y="81076"/>
                    </a:cubicBezTo>
                    <a:cubicBezTo>
                      <a:pt x="24921" y="82353"/>
                      <a:pt x="23643" y="82992"/>
                      <a:pt x="21726" y="82992"/>
                    </a:cubicBezTo>
                    <a:cubicBezTo>
                      <a:pt x="17892" y="82992"/>
                      <a:pt x="15336" y="80438"/>
                      <a:pt x="15336" y="76608"/>
                    </a:cubicBezTo>
                    <a:cubicBezTo>
                      <a:pt x="15336" y="75331"/>
                      <a:pt x="15975" y="73416"/>
                      <a:pt x="17253" y="72139"/>
                    </a:cubicBezTo>
                    <a:close/>
                  </a:path>
                </a:pathLst>
              </a:custGeom>
              <a:grpFill/>
              <a:ln w="6390" cap="flat">
                <a:noFill/>
                <a:prstDash val="solid"/>
                <a:miter/>
              </a:ln>
            </p:spPr>
            <p:txBody>
              <a:bodyPr rtlCol="0" anchor="ctr"/>
              <a:lstStyle/>
              <a:p>
                <a:endParaRPr lang="en-US"/>
              </a:p>
            </p:txBody>
          </p:sp>
        </p:grpSp>
      </p:grpSp>
      <p:sp>
        <p:nvSpPr>
          <p:cNvPr id="27" name="TextBox 26">
            <a:extLst>
              <a:ext uri="{FF2B5EF4-FFF2-40B4-BE49-F238E27FC236}">
                <a16:creationId xmlns:a16="http://schemas.microsoft.com/office/drawing/2014/main" id="{0494919F-37FB-69C2-C80F-B2851C18EFCB}"/>
              </a:ext>
            </a:extLst>
          </p:cNvPr>
          <p:cNvSpPr txBox="1"/>
          <p:nvPr/>
        </p:nvSpPr>
        <p:spPr>
          <a:xfrm>
            <a:off x="11672888" y="6477000"/>
            <a:ext cx="98785" cy="100027"/>
          </a:xfrm>
          <a:prstGeom prst="rect">
            <a:avLst/>
          </a:prstGeom>
          <a:solidFill>
            <a:srgbClr val="0097A9"/>
          </a:solid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dirty="0">
                <a:solidFill>
                  <a:schemeClr val="bg1"/>
                </a:solidFill>
              </a:rPr>
              <a:t>9</a:t>
            </a:r>
          </a:p>
        </p:txBody>
      </p:sp>
    </p:spTree>
    <p:extLst>
      <p:ext uri="{BB962C8B-B14F-4D97-AF65-F5344CB8AC3E}">
        <p14:creationId xmlns:p14="http://schemas.microsoft.com/office/powerpoint/2010/main" val="37677702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Cloud Template Aug 2018">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7">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w="19050" algn="ctr">
          <a:noFill/>
          <a:miter lim="800000"/>
          <a:headEnd/>
          <a:tailEnd/>
        </a:ln>
      </a:spPr>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lgn="ct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Cloud_PresentationTemplate_16x9_20180801.potx [Read-Only]" id="{5F4BF26E-44B2-4606-87BD-599ADB82C8FB}" vid="{89D8168F-A922-4D48-A38B-889B69A7AFD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638e966-c0c7-4a07-90ef-fe587cd21500">
      <Terms xmlns="http://schemas.microsoft.com/office/infopath/2007/PartnerControls"/>
    </lcf76f155ced4ddcb4097134ff3c332f>
    <TaxCatchAll xmlns="6fc18c41-dfa3-40fb-a4e1-19c1886d6151" xsi:nil="true"/>
    <_Flow_SignoffStatus xmlns="e638e966-c0c7-4a07-90ef-fe587cd2150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06AAE00D31DB844962DEB172BCF52AA" ma:contentTypeVersion="17" ma:contentTypeDescription="Create a new document." ma:contentTypeScope="" ma:versionID="c1022d6c2ddd1b21fd7d31c3c05818a5">
  <xsd:schema xmlns:xsd="http://www.w3.org/2001/XMLSchema" xmlns:xs="http://www.w3.org/2001/XMLSchema" xmlns:p="http://schemas.microsoft.com/office/2006/metadata/properties" xmlns:ns2="e638e966-c0c7-4a07-90ef-fe587cd21500" xmlns:ns3="6fc18c41-dfa3-40fb-a4e1-19c1886d6151" targetNamespace="http://schemas.microsoft.com/office/2006/metadata/properties" ma:root="true" ma:fieldsID="392c45cb6a44148ffdea87066a478a30" ns2:_="" ns3:_="">
    <xsd:import namespace="e638e966-c0c7-4a07-90ef-fe587cd21500"/>
    <xsd:import namespace="6fc18c41-dfa3-40fb-a4e1-19c1886d6151"/>
    <xsd:element name="properties">
      <xsd:complexType>
        <xsd:sequence>
          <xsd:element name="documentManagement">
            <xsd:complexType>
              <xsd:all>
                <xsd:element ref="ns2:MediaServiceMetadata" minOccurs="0"/>
                <xsd:element ref="ns2:MediaServiceFastMetadata" minOccurs="0"/>
                <xsd:element ref="ns2:_Flow_SignoffStatus"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OCR"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38e966-c0c7-4a07-90ef-fe587cd215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_Flow_SignoffStatus" ma:index="10" nillable="true" ma:displayName="Sign-off status" ma:internalName="Sign_x002d_off_x0020_status">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c18c41-dfa3-40fb-a4e1-19c1886d615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10df6e0-be2d-4a7b-a8ad-71acf516df75}" ma:internalName="TaxCatchAll" ma:showField="CatchAllData" ma:web="6fc18c41-dfa3-40fb-a4e1-19c1886d615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1DC8DA-8825-4445-B329-3214F670FB76}">
  <ds:schemaRefs>
    <ds:schemaRef ds:uri="http://purl.org/dc/dcmitype/"/>
    <ds:schemaRef ds:uri="http://schemas.microsoft.com/office/2006/documentManagement/types"/>
    <ds:schemaRef ds:uri="http://purl.org/dc/terms/"/>
    <ds:schemaRef ds:uri="http://www.w3.org/XML/1998/namespace"/>
    <ds:schemaRef ds:uri="http://purl.org/dc/elements/1.1/"/>
    <ds:schemaRef ds:uri="http://schemas.openxmlformats.org/package/2006/metadata/core-properties"/>
    <ds:schemaRef ds:uri="http://schemas.microsoft.com/office/infopath/2007/PartnerControls"/>
    <ds:schemaRef ds:uri="http://schemas.microsoft.com/office/2006/metadata/properties"/>
    <ds:schemaRef ds:uri="6fc18c41-dfa3-40fb-a4e1-19c1886d6151"/>
    <ds:schemaRef ds:uri="e638e966-c0c7-4a07-90ef-fe587cd21500"/>
  </ds:schemaRefs>
</ds:datastoreItem>
</file>

<file path=customXml/itemProps2.xml><?xml version="1.0" encoding="utf-8"?>
<ds:datastoreItem xmlns:ds="http://schemas.openxmlformats.org/officeDocument/2006/customXml" ds:itemID="{DC7C4B57-7375-4A9A-A4AB-12008570E1C6}">
  <ds:schemaRefs>
    <ds:schemaRef ds:uri="http://schemas.microsoft.com/sharepoint/v3/contenttype/forms"/>
  </ds:schemaRefs>
</ds:datastoreItem>
</file>

<file path=customXml/itemProps3.xml><?xml version="1.0" encoding="utf-8"?>
<ds:datastoreItem xmlns:ds="http://schemas.openxmlformats.org/officeDocument/2006/customXml" ds:itemID="{24B12D2B-F903-42FF-B9DB-76A300F21C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38e966-c0c7-4a07-90ef-fe587cd21500"/>
    <ds:schemaRef ds:uri="6fc18c41-dfa3-40fb-a4e1-19c1886d615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307</TotalTime>
  <Words>445</Words>
  <Application>Microsoft Office PowerPoint</Application>
  <PresentationFormat>Widescreen</PresentationFormat>
  <Paragraphs>98</Paragraphs>
  <Slides>12</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Calibri Light</vt:lpstr>
      <vt:lpstr>Cambria Math</vt:lpstr>
      <vt:lpstr>Open Sans</vt:lpstr>
      <vt:lpstr>Open Sans Light</vt:lpstr>
      <vt:lpstr>Verdana</vt:lpstr>
      <vt:lpstr>Wingdings 2</vt:lpstr>
      <vt:lpstr>Deloitte Cloud Template Aug 2018</vt:lpstr>
      <vt:lpstr>think-cell Slide</vt:lpstr>
      <vt:lpstr>PowerPoint Presentation</vt:lpstr>
      <vt:lpstr>PowerPoint Presentation</vt:lpstr>
      <vt:lpstr>Demographics</vt:lpstr>
      <vt:lpstr>PowerPoint Presentation</vt:lpstr>
      <vt:lpstr>When and how the Cloud journey started</vt:lpstr>
      <vt:lpstr>Cloud adoption drivers and strategy </vt:lpstr>
      <vt:lpstr>Cloud adoption inhibitors and mitigations</vt:lpstr>
      <vt:lpstr>Workloads and usage</vt:lpstr>
      <vt:lpstr>Workloads and usage</vt:lpstr>
      <vt:lpstr>Operating model</vt:lpstr>
      <vt:lpstr>Cloud operating model archetypes</vt:lpstr>
      <vt:lpstr>Thank you</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olaert, Sébastien</dc:creator>
  <cp:lastModifiedBy>Descamps, Aurélien</cp:lastModifiedBy>
  <cp:revision>8</cp:revision>
  <dcterms:created xsi:type="dcterms:W3CDTF">2023-11-13T12:12:04Z</dcterms:created>
  <dcterms:modified xsi:type="dcterms:W3CDTF">2023-11-26T21:4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11-13T12:12:0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993fe67-0d41-4591-acdc-d588763d336b</vt:lpwstr>
  </property>
  <property fmtid="{D5CDD505-2E9C-101B-9397-08002B2CF9AE}" pid="8" name="MSIP_Label_ea60d57e-af5b-4752-ac57-3e4f28ca11dc_ContentBits">
    <vt:lpwstr>0</vt:lpwstr>
  </property>
  <property fmtid="{D5CDD505-2E9C-101B-9397-08002B2CF9AE}" pid="9" name="ContentTypeId">
    <vt:lpwstr>0x010100E06AAE00D31DB844962DEB172BCF52AA</vt:lpwstr>
  </property>
  <property fmtid="{D5CDD505-2E9C-101B-9397-08002B2CF9AE}" pid="10" name="MediaServiceImageTags">
    <vt:lpwstr/>
  </property>
</Properties>
</file>